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6" r:id="rId4"/>
    <p:sldMasterId id="2147483699" r:id="rId5"/>
    <p:sldMasterId id="2147483659" r:id="rId6"/>
    <p:sldMasterId id="2147483684" r:id="rId7"/>
    <p:sldMasterId id="2147483744" r:id="rId8"/>
  </p:sldMasterIdLst>
  <p:notesMasterIdLst>
    <p:notesMasterId r:id="rId15"/>
  </p:notesMasterIdLst>
  <p:handoutMasterIdLst>
    <p:handoutMasterId r:id="rId16"/>
  </p:handoutMasterIdLst>
  <p:sldIdLst>
    <p:sldId id="423" r:id="rId9"/>
    <p:sldId id="321" r:id="rId10"/>
    <p:sldId id="422" r:id="rId11"/>
    <p:sldId id="430" r:id="rId12"/>
    <p:sldId id="436" r:id="rId13"/>
    <p:sldId id="434" r:id="rId14"/>
  </p:sldIdLst>
  <p:sldSz cx="12192000" cy="6858000"/>
  <p:notesSz cx="9144000" cy="6858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5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3F6B4BA-526B-BF64-C594-AB651245EA03}" name="Siva Ilango" initials="SI" userId="S::sivailango@jmangroup.com::7373b8a4-4c11-4c31-869e-e38dc3132e4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thish Kumar" initials="SK" lastIdx="1" clrIdx="0">
    <p:extLst>
      <p:ext uri="{19B8F6BF-5375-455C-9EA6-DF929625EA0E}">
        <p15:presenceInfo xmlns:p15="http://schemas.microsoft.com/office/powerpoint/2012/main" userId="S::sathishkumar@imitorgraphica.com::13cfecb2-67b5-47b5-8917-124861ec6366" providerId="AD"/>
      </p:ext>
    </p:extLst>
  </p:cmAuthor>
  <p:cmAuthor id="2" name="Tathheer Fathima Syed" initials="TS" lastIdx="1" clrIdx="1">
    <p:extLst>
      <p:ext uri="{19B8F6BF-5375-455C-9EA6-DF929625EA0E}">
        <p15:presenceInfo xmlns:p15="http://schemas.microsoft.com/office/powerpoint/2012/main" userId="S::tathheerfathima@jmangroup.com::fabf9776-fc76-45d8-8d69-caefd61a092d" providerId="AD"/>
      </p:ext>
    </p:extLst>
  </p:cmAuthor>
  <p:cmAuthor id="3" name="Leo Valan" initials="LV" lastIdx="1" clrIdx="2">
    <p:extLst>
      <p:ext uri="{19B8F6BF-5375-455C-9EA6-DF929625EA0E}">
        <p15:presenceInfo xmlns:p15="http://schemas.microsoft.com/office/powerpoint/2012/main" userId="S::leovalan@jmangroup.com::bbcdbfe0-29a1-4ef4-b3d5-6904b0ba35c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96F3"/>
    <a:srgbClr val="C1BAF3"/>
    <a:srgbClr val="120A33"/>
    <a:srgbClr val="FFDFEA"/>
    <a:srgbClr val="73EAE1"/>
    <a:srgbClr val="83E2E1"/>
    <a:srgbClr val="93CAE0"/>
    <a:srgbClr val="86DFE0"/>
    <a:srgbClr val="616161"/>
    <a:srgbClr val="95C4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764" autoAdjust="0"/>
    <p:restoredTop sz="93850" autoAdjust="0"/>
  </p:normalViewPr>
  <p:slideViewPr>
    <p:cSldViewPr snapToGrid="0" snapToObjects="1">
      <p:cViewPr varScale="1">
        <p:scale>
          <a:sx n="85" d="100"/>
          <a:sy n="85" d="100"/>
        </p:scale>
        <p:origin x="970" y="62"/>
      </p:cViewPr>
      <p:guideLst>
        <p:guide orient="horz" pos="2183"/>
        <p:guide pos="3840"/>
        <p:guide orient="horz" pos="2523"/>
      </p:guideLst>
    </p:cSldViewPr>
  </p:slideViewPr>
  <p:outlineViewPr>
    <p:cViewPr>
      <p:scale>
        <a:sx n="33" d="100"/>
        <a:sy n="33" d="100"/>
      </p:scale>
      <p:origin x="0" y="-320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15414"/>
    </p:cViewPr>
  </p:sorterViewPr>
  <p:notesViewPr>
    <p:cSldViewPr snapToGrid="0" snapToObjects="1">
      <p:cViewPr varScale="1">
        <p:scale>
          <a:sx n="59" d="100"/>
          <a:sy n="59" d="100"/>
        </p:scale>
        <p:origin x="2040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2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C4ABEF0-A749-4FAC-4961-3D4BB00789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DFEB04-0519-1863-5212-5950A78009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255A1-989B-6943-A27A-1FBD0413D4A5}" type="datetimeFigureOut">
              <a:rPr lang="en-US" smtClean="0"/>
              <a:t>9/23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09B76C-43AC-DF08-CDF0-66B1F12FE69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0BA83A-FED4-2D0E-09BC-81CAD06056F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5C3FCA-6314-8F4D-AE0F-A13C4FBDDD7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1887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7DD801-C50E-3941-88AE-2805A8373381}" type="datetimeFigureOut">
              <a:rPr lang="en-US" smtClean="0"/>
              <a:t>9/23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4DFB1B-604A-654A-B4FF-ECE7AF17C73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53319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4DFB1B-604A-654A-B4FF-ECE7AF17C73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8755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jmangroup.com/" TargetMode="Externa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hyperlink" Target="https://www.jmangroup.com/" TargetMode="External"/><Relationship Id="rId4" Type="http://schemas.openxmlformats.org/officeDocument/2006/relationships/image" Target="../media/image6.jp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g"/><Relationship Id="rId4" Type="http://schemas.openxmlformats.org/officeDocument/2006/relationships/hyperlink" Target="https://www.jmangroup.com/" TargetMode="Externa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hyperlink" Target="https://www.jmangroup.com/" TargetMode="External"/><Relationship Id="rId4" Type="http://schemas.openxmlformats.org/officeDocument/2006/relationships/image" Target="../media/image6.jp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hyperlink" Target="https://www.jmangroup.com/" TargetMode="External"/><Relationship Id="rId4" Type="http://schemas.openxmlformats.org/officeDocument/2006/relationships/image" Target="../media/image6.jp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hyperlink" Target="https://www.jmangroup.com/" TargetMode="External"/><Relationship Id="rId4" Type="http://schemas.openxmlformats.org/officeDocument/2006/relationships/image" Target="../media/image6.jp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hyperlink" Target="https://www.jmangroup.com/" TargetMode="External"/><Relationship Id="rId4" Type="http://schemas.openxmlformats.org/officeDocument/2006/relationships/image" Target="../media/image6.jpg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hyperlink" Target="https://www.jmangroup.com/" TargetMode="External"/><Relationship Id="rId4" Type="http://schemas.openxmlformats.org/officeDocument/2006/relationships/image" Target="../media/image6.jp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hyperlink" Target="https://www.jmangroup.com/" TargetMode="External"/><Relationship Id="rId4" Type="http://schemas.openxmlformats.org/officeDocument/2006/relationships/image" Target="../media/image6.jp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hyperlink" Target="https://www.jmangroup.com/" TargetMode="External"/><Relationship Id="rId4" Type="http://schemas.openxmlformats.org/officeDocument/2006/relationships/image" Target="../media/image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14E23-4D5A-C225-A302-6C9C57B22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643127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bg object 17">
            <a:extLst>
              <a:ext uri="{FF2B5EF4-FFF2-40B4-BE49-F238E27FC236}">
                <a16:creationId xmlns:a16="http://schemas.microsoft.com/office/drawing/2014/main" id="{5AE8EB3F-06DA-9660-72EB-9FC6330A4F34}"/>
              </a:ext>
            </a:extLst>
          </p:cNvPr>
          <p:cNvSpPr/>
          <p:nvPr userDrawn="1"/>
        </p:nvSpPr>
        <p:spPr>
          <a:xfrm>
            <a:off x="3791345" y="1"/>
            <a:ext cx="8400655" cy="6858000"/>
          </a:xfrm>
          <a:custGeom>
            <a:avLst/>
            <a:gdLst/>
            <a:ahLst/>
            <a:cxnLst/>
            <a:rect l="l" t="t" r="r" b="b"/>
            <a:pathLst>
              <a:path w="13852525" h="11308715">
                <a:moveTo>
                  <a:pt x="13663594" y="541274"/>
                </a:moveTo>
                <a:lnTo>
                  <a:pt x="13337552" y="886374"/>
                </a:lnTo>
                <a:lnTo>
                  <a:pt x="13458406" y="2559160"/>
                </a:lnTo>
                <a:lnTo>
                  <a:pt x="13784438" y="2214071"/>
                </a:lnTo>
                <a:lnTo>
                  <a:pt x="13663594" y="541274"/>
                </a:lnTo>
                <a:close/>
              </a:path>
              <a:path w="13852525" h="11308715">
                <a:moveTo>
                  <a:pt x="12862427" y="0"/>
                </a:moveTo>
                <a:lnTo>
                  <a:pt x="12842864" y="0"/>
                </a:lnTo>
                <a:lnTo>
                  <a:pt x="12849922" y="22955"/>
                </a:lnTo>
                <a:lnTo>
                  <a:pt x="12862427" y="0"/>
                </a:lnTo>
                <a:close/>
              </a:path>
              <a:path w="13852525" h="11308715">
                <a:moveTo>
                  <a:pt x="1356744" y="11181556"/>
                </a:moveTo>
                <a:lnTo>
                  <a:pt x="1317802" y="11206956"/>
                </a:lnTo>
                <a:lnTo>
                  <a:pt x="1288384" y="11308556"/>
                </a:lnTo>
                <a:lnTo>
                  <a:pt x="1318869" y="11308556"/>
                </a:lnTo>
                <a:lnTo>
                  <a:pt x="1356744" y="11181556"/>
                </a:lnTo>
                <a:close/>
              </a:path>
              <a:path w="13852525" h="11308715">
                <a:moveTo>
                  <a:pt x="2108543" y="10737056"/>
                </a:moveTo>
                <a:lnTo>
                  <a:pt x="1991771" y="10813256"/>
                </a:lnTo>
                <a:lnTo>
                  <a:pt x="1863059" y="11308556"/>
                </a:lnTo>
                <a:lnTo>
                  <a:pt x="1960085" y="11308556"/>
                </a:lnTo>
                <a:lnTo>
                  <a:pt x="2108543" y="10737056"/>
                </a:lnTo>
                <a:close/>
              </a:path>
              <a:path w="13852525" h="11308715">
                <a:moveTo>
                  <a:pt x="2860321" y="10292556"/>
                </a:moveTo>
                <a:lnTo>
                  <a:pt x="2665698" y="10419556"/>
                </a:lnTo>
                <a:lnTo>
                  <a:pt x="2464479" y="11308556"/>
                </a:lnTo>
                <a:lnTo>
                  <a:pt x="2631287" y="11308556"/>
                </a:lnTo>
                <a:lnTo>
                  <a:pt x="2860321" y="10292556"/>
                </a:lnTo>
                <a:close/>
              </a:path>
              <a:path w="13852525" h="11308715">
                <a:moveTo>
                  <a:pt x="4206856" y="10991056"/>
                </a:moveTo>
                <a:lnTo>
                  <a:pt x="3978528" y="11232356"/>
                </a:lnTo>
                <a:lnTo>
                  <a:pt x="3984302" y="11308556"/>
                </a:lnTo>
                <a:lnTo>
                  <a:pt x="4230674" y="11308556"/>
                </a:lnTo>
                <a:lnTo>
                  <a:pt x="4206856" y="10991056"/>
                </a:lnTo>
                <a:close/>
              </a:path>
              <a:path w="13852525" h="11308715">
                <a:moveTo>
                  <a:pt x="4844187" y="10356056"/>
                </a:moveTo>
                <a:lnTo>
                  <a:pt x="4550207" y="10660856"/>
                </a:lnTo>
                <a:lnTo>
                  <a:pt x="4626194" y="11308556"/>
                </a:lnTo>
                <a:lnTo>
                  <a:pt x="4956321" y="11308556"/>
                </a:lnTo>
                <a:lnTo>
                  <a:pt x="4844187" y="10356056"/>
                </a:lnTo>
                <a:close/>
              </a:path>
              <a:path w="13852525" h="11308715">
                <a:moveTo>
                  <a:pt x="5579023" y="11168856"/>
                </a:moveTo>
                <a:lnTo>
                  <a:pt x="5495758" y="11308556"/>
                </a:lnTo>
                <a:lnTo>
                  <a:pt x="5639011" y="11308556"/>
                </a:lnTo>
                <a:lnTo>
                  <a:pt x="5579023" y="11168856"/>
                </a:lnTo>
                <a:close/>
              </a:path>
              <a:path w="13852525" h="11308715">
                <a:moveTo>
                  <a:pt x="6049721" y="10356056"/>
                </a:moveTo>
                <a:lnTo>
                  <a:pt x="5788221" y="10825956"/>
                </a:lnTo>
                <a:lnTo>
                  <a:pt x="6010322" y="11308556"/>
                </a:lnTo>
                <a:lnTo>
                  <a:pt x="6481959" y="11308556"/>
                </a:lnTo>
                <a:lnTo>
                  <a:pt x="6049721" y="10356056"/>
                </a:lnTo>
                <a:close/>
              </a:path>
              <a:path w="13852525" h="11308715">
                <a:moveTo>
                  <a:pt x="6792159" y="10851356"/>
                </a:moveTo>
                <a:lnTo>
                  <a:pt x="6670546" y="11308556"/>
                </a:lnTo>
                <a:lnTo>
                  <a:pt x="7184035" y="11308556"/>
                </a:lnTo>
                <a:lnTo>
                  <a:pt x="6792159" y="10851356"/>
                </a:lnTo>
                <a:close/>
              </a:path>
              <a:path w="13852525" h="11308715">
                <a:moveTo>
                  <a:pt x="7666782" y="11130756"/>
                </a:moveTo>
                <a:lnTo>
                  <a:pt x="7667177" y="11308556"/>
                </a:lnTo>
                <a:lnTo>
                  <a:pt x="7938091" y="11308556"/>
                </a:lnTo>
                <a:lnTo>
                  <a:pt x="7666782" y="11130756"/>
                </a:lnTo>
                <a:close/>
              </a:path>
              <a:path w="13852525" h="11308715">
                <a:moveTo>
                  <a:pt x="9478281" y="10813256"/>
                </a:moveTo>
                <a:lnTo>
                  <a:pt x="7686195" y="10813256"/>
                </a:lnTo>
                <a:lnTo>
                  <a:pt x="8511158" y="11308556"/>
                </a:lnTo>
                <a:lnTo>
                  <a:pt x="8554593" y="11308556"/>
                </a:lnTo>
                <a:lnTo>
                  <a:pt x="8554315" y="10851356"/>
                </a:lnTo>
                <a:lnTo>
                  <a:pt x="9488564" y="10851356"/>
                </a:lnTo>
                <a:lnTo>
                  <a:pt x="9478281" y="10813256"/>
                </a:lnTo>
                <a:close/>
              </a:path>
              <a:path w="13852525" h="11308715">
                <a:moveTo>
                  <a:pt x="8619486" y="11168856"/>
                </a:moveTo>
                <a:lnTo>
                  <a:pt x="8658631" y="11308556"/>
                </a:lnTo>
                <a:lnTo>
                  <a:pt x="9042097" y="11308556"/>
                </a:lnTo>
                <a:lnTo>
                  <a:pt x="8619486" y="11168856"/>
                </a:lnTo>
                <a:close/>
              </a:path>
              <a:path w="13852525" h="11308715">
                <a:moveTo>
                  <a:pt x="9587425" y="10952956"/>
                </a:moveTo>
                <a:lnTo>
                  <a:pt x="9799117" y="11308556"/>
                </a:lnTo>
                <a:lnTo>
                  <a:pt x="10926641" y="11308556"/>
                </a:lnTo>
                <a:lnTo>
                  <a:pt x="10757923" y="11029156"/>
                </a:lnTo>
                <a:lnTo>
                  <a:pt x="9587425" y="10952956"/>
                </a:lnTo>
                <a:close/>
              </a:path>
              <a:path w="13852525" h="11308715">
                <a:moveTo>
                  <a:pt x="12527880" y="11029156"/>
                </a:moveTo>
                <a:lnTo>
                  <a:pt x="11234160" y="11219656"/>
                </a:lnTo>
                <a:lnTo>
                  <a:pt x="11329752" y="11308556"/>
                </a:lnTo>
                <a:lnTo>
                  <a:pt x="12829487" y="11308556"/>
                </a:lnTo>
                <a:lnTo>
                  <a:pt x="12527880" y="11029156"/>
                </a:lnTo>
                <a:close/>
              </a:path>
              <a:path w="13852525" h="11308715">
                <a:moveTo>
                  <a:pt x="7638137" y="10546556"/>
                </a:moveTo>
                <a:lnTo>
                  <a:pt x="6890020" y="10546556"/>
                </a:lnTo>
                <a:lnTo>
                  <a:pt x="6887821" y="10559256"/>
                </a:lnTo>
                <a:lnTo>
                  <a:pt x="7563947" y="11270456"/>
                </a:lnTo>
                <a:lnTo>
                  <a:pt x="7686195" y="10813256"/>
                </a:lnTo>
                <a:lnTo>
                  <a:pt x="9478281" y="10813256"/>
                </a:lnTo>
                <a:lnTo>
                  <a:pt x="9437147" y="10660856"/>
                </a:lnTo>
                <a:lnTo>
                  <a:pt x="10524376" y="10660856"/>
                </a:lnTo>
                <a:lnTo>
                  <a:pt x="10516980" y="10648156"/>
                </a:lnTo>
                <a:lnTo>
                  <a:pt x="8499343" y="10648156"/>
                </a:lnTo>
                <a:lnTo>
                  <a:pt x="8414694" y="10597356"/>
                </a:lnTo>
                <a:lnTo>
                  <a:pt x="7686069" y="10597356"/>
                </a:lnTo>
                <a:lnTo>
                  <a:pt x="7638137" y="10546556"/>
                </a:lnTo>
                <a:close/>
              </a:path>
              <a:path w="13852525" h="11308715">
                <a:moveTo>
                  <a:pt x="3612099" y="9848056"/>
                </a:moveTo>
                <a:lnTo>
                  <a:pt x="3339678" y="10013156"/>
                </a:lnTo>
                <a:lnTo>
                  <a:pt x="3128616" y="11143456"/>
                </a:lnTo>
                <a:lnTo>
                  <a:pt x="3401069" y="10978356"/>
                </a:lnTo>
                <a:lnTo>
                  <a:pt x="3612099" y="9848056"/>
                </a:lnTo>
                <a:close/>
              </a:path>
              <a:path w="13852525" h="11308715">
                <a:moveTo>
                  <a:pt x="9488564" y="10851356"/>
                </a:moveTo>
                <a:lnTo>
                  <a:pt x="8556681" y="10851356"/>
                </a:lnTo>
                <a:lnTo>
                  <a:pt x="9567405" y="11143456"/>
                </a:lnTo>
                <a:lnTo>
                  <a:pt x="9488564" y="10851356"/>
                </a:lnTo>
                <a:close/>
              </a:path>
              <a:path w="13852525" h="11308715">
                <a:moveTo>
                  <a:pt x="5481518" y="9708356"/>
                </a:moveTo>
                <a:lnTo>
                  <a:pt x="5121885" y="10089356"/>
                </a:lnTo>
                <a:lnTo>
                  <a:pt x="5288310" y="11092656"/>
                </a:lnTo>
                <a:lnTo>
                  <a:pt x="5647953" y="10711656"/>
                </a:lnTo>
                <a:lnTo>
                  <a:pt x="5481518" y="9708356"/>
                </a:lnTo>
                <a:close/>
              </a:path>
              <a:path w="13852525" h="11308715">
                <a:moveTo>
                  <a:pt x="13851902" y="10571956"/>
                </a:moveTo>
                <a:lnTo>
                  <a:pt x="13158437" y="10838656"/>
                </a:lnTo>
                <a:lnTo>
                  <a:pt x="13506593" y="11029156"/>
                </a:lnTo>
                <a:lnTo>
                  <a:pt x="13851902" y="10889456"/>
                </a:lnTo>
                <a:lnTo>
                  <a:pt x="13851902" y="10571956"/>
                </a:lnTo>
                <a:close/>
              </a:path>
              <a:path w="13852525" h="11308715">
                <a:moveTo>
                  <a:pt x="6806761" y="10102056"/>
                </a:moveTo>
                <a:lnTo>
                  <a:pt x="6214962" y="10102056"/>
                </a:lnTo>
                <a:lnTo>
                  <a:pt x="6210816" y="10114756"/>
                </a:lnTo>
                <a:lnTo>
                  <a:pt x="6660446" y="10965656"/>
                </a:lnTo>
                <a:lnTo>
                  <a:pt x="6890020" y="10546556"/>
                </a:lnTo>
                <a:lnTo>
                  <a:pt x="7638137" y="10546556"/>
                </a:lnTo>
                <a:lnTo>
                  <a:pt x="7458393" y="10356056"/>
                </a:lnTo>
                <a:lnTo>
                  <a:pt x="6941610" y="10356056"/>
                </a:lnTo>
                <a:lnTo>
                  <a:pt x="6806761" y="10102056"/>
                </a:lnTo>
                <a:close/>
              </a:path>
              <a:path w="13852525" h="11308715">
                <a:moveTo>
                  <a:pt x="11697937" y="10241756"/>
                </a:moveTo>
                <a:lnTo>
                  <a:pt x="10502769" y="10483056"/>
                </a:lnTo>
                <a:lnTo>
                  <a:pt x="10933949" y="10902156"/>
                </a:lnTo>
                <a:lnTo>
                  <a:pt x="12129107" y="10660856"/>
                </a:lnTo>
                <a:lnTo>
                  <a:pt x="11697937" y="10241756"/>
                </a:lnTo>
                <a:close/>
              </a:path>
              <a:path w="13852525" h="11308715">
                <a:moveTo>
                  <a:pt x="4363898" y="9390856"/>
                </a:moveTo>
                <a:lnTo>
                  <a:pt x="4013595" y="9619456"/>
                </a:lnTo>
                <a:lnTo>
                  <a:pt x="3860447" y="10673556"/>
                </a:lnTo>
                <a:lnTo>
                  <a:pt x="4210719" y="10457656"/>
                </a:lnTo>
                <a:lnTo>
                  <a:pt x="4363898" y="9390856"/>
                </a:lnTo>
                <a:close/>
              </a:path>
              <a:path w="13852525" h="11308715">
                <a:moveTo>
                  <a:pt x="10524376" y="10660856"/>
                </a:moveTo>
                <a:lnTo>
                  <a:pt x="9441827" y="10660856"/>
                </a:lnTo>
                <a:lnTo>
                  <a:pt x="10531773" y="10673556"/>
                </a:lnTo>
                <a:lnTo>
                  <a:pt x="10524376" y="10660856"/>
                </a:lnTo>
                <a:close/>
              </a:path>
              <a:path w="13852525" h="11308715">
                <a:moveTo>
                  <a:pt x="9253203" y="10025856"/>
                </a:moveTo>
                <a:lnTo>
                  <a:pt x="7875927" y="10025856"/>
                </a:lnTo>
                <a:lnTo>
                  <a:pt x="8408372" y="10305256"/>
                </a:lnTo>
                <a:lnTo>
                  <a:pt x="8499343" y="10648156"/>
                </a:lnTo>
                <a:lnTo>
                  <a:pt x="10516980" y="10648156"/>
                </a:lnTo>
                <a:lnTo>
                  <a:pt x="10413427" y="10470356"/>
                </a:lnTo>
                <a:lnTo>
                  <a:pt x="9327893" y="10470356"/>
                </a:lnTo>
                <a:lnTo>
                  <a:pt x="8539708" y="10241756"/>
                </a:lnTo>
                <a:lnTo>
                  <a:pt x="8539834" y="10038556"/>
                </a:lnTo>
                <a:lnTo>
                  <a:pt x="9256753" y="10038556"/>
                </a:lnTo>
                <a:lnTo>
                  <a:pt x="9253203" y="10025856"/>
                </a:lnTo>
                <a:close/>
              </a:path>
              <a:path w="13852525" h="11308715">
                <a:moveTo>
                  <a:pt x="9207049" y="9860756"/>
                </a:moveTo>
                <a:lnTo>
                  <a:pt x="7259580" y="9860756"/>
                </a:lnTo>
                <a:lnTo>
                  <a:pt x="7685860" y="10254456"/>
                </a:lnTo>
                <a:lnTo>
                  <a:pt x="7686069" y="10597356"/>
                </a:lnTo>
                <a:lnTo>
                  <a:pt x="8414694" y="10597356"/>
                </a:lnTo>
                <a:lnTo>
                  <a:pt x="7822149" y="10241756"/>
                </a:lnTo>
                <a:lnTo>
                  <a:pt x="7875927" y="10025856"/>
                </a:lnTo>
                <a:lnTo>
                  <a:pt x="9253203" y="10025856"/>
                </a:lnTo>
                <a:lnTo>
                  <a:pt x="9207049" y="9860756"/>
                </a:lnTo>
                <a:close/>
              </a:path>
              <a:path w="13852525" h="11308715">
                <a:moveTo>
                  <a:pt x="13475066" y="9759156"/>
                </a:moveTo>
                <a:lnTo>
                  <a:pt x="12227920" y="10305256"/>
                </a:lnTo>
                <a:lnTo>
                  <a:pt x="12673708" y="10546556"/>
                </a:lnTo>
                <a:lnTo>
                  <a:pt x="13851902" y="10025856"/>
                </a:lnTo>
                <a:lnTo>
                  <a:pt x="13851902" y="9962356"/>
                </a:lnTo>
                <a:lnTo>
                  <a:pt x="13475066" y="9759156"/>
                </a:lnTo>
                <a:close/>
              </a:path>
              <a:path w="13852525" h="11308715">
                <a:moveTo>
                  <a:pt x="918223" y="9301956"/>
                </a:moveTo>
                <a:lnTo>
                  <a:pt x="874706" y="9314656"/>
                </a:lnTo>
                <a:lnTo>
                  <a:pt x="182915" y="10495756"/>
                </a:lnTo>
                <a:lnTo>
                  <a:pt x="226443" y="10470356"/>
                </a:lnTo>
                <a:lnTo>
                  <a:pt x="918223" y="9301956"/>
                </a:lnTo>
                <a:close/>
              </a:path>
              <a:path w="13852525" h="11308715">
                <a:moveTo>
                  <a:pt x="9256753" y="10038556"/>
                </a:moveTo>
                <a:lnTo>
                  <a:pt x="8539834" y="10038556"/>
                </a:lnTo>
                <a:lnTo>
                  <a:pt x="9147072" y="10152856"/>
                </a:lnTo>
                <a:lnTo>
                  <a:pt x="9327893" y="10470356"/>
                </a:lnTo>
                <a:lnTo>
                  <a:pt x="10413427" y="10470356"/>
                </a:lnTo>
                <a:lnTo>
                  <a:pt x="10272891" y="10229056"/>
                </a:lnTo>
                <a:lnTo>
                  <a:pt x="10279707" y="10229056"/>
                </a:lnTo>
                <a:lnTo>
                  <a:pt x="10877850" y="10076656"/>
                </a:lnTo>
                <a:lnTo>
                  <a:pt x="10113807" y="10076656"/>
                </a:lnTo>
                <a:lnTo>
                  <a:pt x="9263854" y="10063956"/>
                </a:lnTo>
                <a:lnTo>
                  <a:pt x="9256753" y="10038556"/>
                </a:lnTo>
                <a:close/>
              </a:path>
              <a:path w="13852525" h="11308715">
                <a:moveTo>
                  <a:pt x="6217188" y="9505156"/>
                </a:moveTo>
                <a:lnTo>
                  <a:pt x="5699250" y="9505156"/>
                </a:lnTo>
                <a:lnTo>
                  <a:pt x="5693554" y="9517856"/>
                </a:lnTo>
                <a:lnTo>
                  <a:pt x="5899569" y="10432256"/>
                </a:lnTo>
                <a:lnTo>
                  <a:pt x="6214962" y="10102056"/>
                </a:lnTo>
                <a:lnTo>
                  <a:pt x="6806761" y="10102056"/>
                </a:lnTo>
                <a:lnTo>
                  <a:pt x="6712367" y="9924256"/>
                </a:lnTo>
                <a:lnTo>
                  <a:pt x="6311860" y="9924256"/>
                </a:lnTo>
                <a:lnTo>
                  <a:pt x="6217188" y="9505156"/>
                </a:lnTo>
                <a:close/>
              </a:path>
              <a:path w="13852525" h="11308715">
                <a:moveTo>
                  <a:pt x="9853036" y="9543256"/>
                </a:moveTo>
                <a:lnTo>
                  <a:pt x="6729292" y="9543256"/>
                </a:lnTo>
                <a:lnTo>
                  <a:pt x="7027000" y="10025856"/>
                </a:lnTo>
                <a:lnTo>
                  <a:pt x="6941610" y="10356056"/>
                </a:lnTo>
                <a:lnTo>
                  <a:pt x="7458393" y="10356056"/>
                </a:lnTo>
                <a:lnTo>
                  <a:pt x="7158818" y="10038556"/>
                </a:lnTo>
                <a:lnTo>
                  <a:pt x="7259580" y="9860756"/>
                </a:lnTo>
                <a:lnTo>
                  <a:pt x="9207049" y="9860756"/>
                </a:lnTo>
                <a:lnTo>
                  <a:pt x="9850537" y="9809956"/>
                </a:lnTo>
                <a:lnTo>
                  <a:pt x="11233329" y="9809956"/>
                </a:lnTo>
                <a:lnTo>
                  <a:pt x="11116350" y="9695656"/>
                </a:lnTo>
                <a:lnTo>
                  <a:pt x="9943571" y="9695656"/>
                </a:lnTo>
                <a:lnTo>
                  <a:pt x="9853036" y="9543256"/>
                </a:lnTo>
                <a:close/>
              </a:path>
              <a:path w="13852525" h="11308715">
                <a:moveTo>
                  <a:pt x="1727580" y="9060656"/>
                </a:moveTo>
                <a:lnTo>
                  <a:pt x="1599951" y="9111456"/>
                </a:lnTo>
                <a:lnTo>
                  <a:pt x="979394" y="10229056"/>
                </a:lnTo>
                <a:lnTo>
                  <a:pt x="1107013" y="10190956"/>
                </a:lnTo>
                <a:lnTo>
                  <a:pt x="1727580" y="9060656"/>
                </a:lnTo>
                <a:close/>
              </a:path>
              <a:path w="13852525" h="11308715">
                <a:moveTo>
                  <a:pt x="5115655" y="8946356"/>
                </a:moveTo>
                <a:lnTo>
                  <a:pt x="4687553" y="9213056"/>
                </a:lnTo>
                <a:lnTo>
                  <a:pt x="4592258" y="10203656"/>
                </a:lnTo>
                <a:lnTo>
                  <a:pt x="5020360" y="9936956"/>
                </a:lnTo>
                <a:lnTo>
                  <a:pt x="5115655" y="8946356"/>
                </a:lnTo>
                <a:close/>
              </a:path>
              <a:path w="13852525" h="11308715">
                <a:moveTo>
                  <a:pt x="11233329" y="9809956"/>
                </a:moveTo>
                <a:lnTo>
                  <a:pt x="9850537" y="9809956"/>
                </a:lnTo>
                <a:lnTo>
                  <a:pt x="10113807" y="10076656"/>
                </a:lnTo>
                <a:lnTo>
                  <a:pt x="10877850" y="10076656"/>
                </a:lnTo>
                <a:lnTo>
                  <a:pt x="11376302" y="9949656"/>
                </a:lnTo>
                <a:lnTo>
                  <a:pt x="11233329" y="9809956"/>
                </a:lnTo>
                <a:close/>
              </a:path>
              <a:path w="13852525" h="11308715">
                <a:moveTo>
                  <a:pt x="12433862" y="9213056"/>
                </a:moveTo>
                <a:lnTo>
                  <a:pt x="11297383" y="9771856"/>
                </a:lnTo>
                <a:lnTo>
                  <a:pt x="11840833" y="10063956"/>
                </a:lnTo>
                <a:lnTo>
                  <a:pt x="12977322" y="9505156"/>
                </a:lnTo>
                <a:lnTo>
                  <a:pt x="12433862" y="9213056"/>
                </a:lnTo>
                <a:close/>
              </a:path>
              <a:path w="13852525" h="11308715">
                <a:moveTo>
                  <a:pt x="2536927" y="8832056"/>
                </a:moveTo>
                <a:lnTo>
                  <a:pt x="2325217" y="8908256"/>
                </a:lnTo>
                <a:lnTo>
                  <a:pt x="1775893" y="9975056"/>
                </a:lnTo>
                <a:lnTo>
                  <a:pt x="1987583" y="9911556"/>
                </a:lnTo>
                <a:lnTo>
                  <a:pt x="2536927" y="8832056"/>
                </a:lnTo>
                <a:close/>
              </a:path>
              <a:path w="13852525" h="11308715">
                <a:moveTo>
                  <a:pt x="10489852" y="9111456"/>
                </a:moveTo>
                <a:lnTo>
                  <a:pt x="6315661" y="9111456"/>
                </a:lnTo>
                <a:lnTo>
                  <a:pt x="6472200" y="9644856"/>
                </a:lnTo>
                <a:lnTo>
                  <a:pt x="6311860" y="9924256"/>
                </a:lnTo>
                <a:lnTo>
                  <a:pt x="6712367" y="9924256"/>
                </a:lnTo>
                <a:lnTo>
                  <a:pt x="6591003" y="9695656"/>
                </a:lnTo>
                <a:lnTo>
                  <a:pt x="6729292" y="9543256"/>
                </a:lnTo>
                <a:lnTo>
                  <a:pt x="9853036" y="9543256"/>
                </a:lnTo>
                <a:lnTo>
                  <a:pt x="9830402" y="9505156"/>
                </a:lnTo>
                <a:lnTo>
                  <a:pt x="10466644" y="9289256"/>
                </a:lnTo>
                <a:lnTo>
                  <a:pt x="11532261" y="9289256"/>
                </a:lnTo>
                <a:lnTo>
                  <a:pt x="11783015" y="9149556"/>
                </a:lnTo>
                <a:lnTo>
                  <a:pt x="10527909" y="9149556"/>
                </a:lnTo>
                <a:lnTo>
                  <a:pt x="10489852" y="9111456"/>
                </a:lnTo>
                <a:close/>
              </a:path>
              <a:path w="13852525" h="11308715">
                <a:moveTo>
                  <a:pt x="5854782" y="8819356"/>
                </a:moveTo>
                <a:lnTo>
                  <a:pt x="5368265" y="8819356"/>
                </a:lnTo>
                <a:lnTo>
                  <a:pt x="5361413" y="8821283"/>
                </a:lnTo>
                <a:lnTo>
                  <a:pt x="5324057" y="9746456"/>
                </a:lnTo>
                <a:lnTo>
                  <a:pt x="5699250" y="9505156"/>
                </a:lnTo>
                <a:lnTo>
                  <a:pt x="6217188" y="9505156"/>
                </a:lnTo>
                <a:lnTo>
                  <a:pt x="6185631" y="9365456"/>
                </a:lnTo>
                <a:lnTo>
                  <a:pt x="5832366" y="9365456"/>
                </a:lnTo>
                <a:lnTo>
                  <a:pt x="5854782" y="8819356"/>
                </a:lnTo>
                <a:close/>
              </a:path>
              <a:path w="13852525" h="11308715">
                <a:moveTo>
                  <a:pt x="3346275" y="8603456"/>
                </a:moveTo>
                <a:lnTo>
                  <a:pt x="3050472" y="8692356"/>
                </a:lnTo>
                <a:lnTo>
                  <a:pt x="2572382" y="9721056"/>
                </a:lnTo>
                <a:lnTo>
                  <a:pt x="2868174" y="9619456"/>
                </a:lnTo>
                <a:lnTo>
                  <a:pt x="3346275" y="8603456"/>
                </a:lnTo>
                <a:close/>
              </a:path>
              <a:path w="13852525" h="11308715">
                <a:moveTo>
                  <a:pt x="11532261" y="9289256"/>
                </a:moveTo>
                <a:lnTo>
                  <a:pt x="10466644" y="9289256"/>
                </a:lnTo>
                <a:lnTo>
                  <a:pt x="10798718" y="9467056"/>
                </a:lnTo>
                <a:lnTo>
                  <a:pt x="9943571" y="9695656"/>
                </a:lnTo>
                <a:lnTo>
                  <a:pt x="11116350" y="9695656"/>
                </a:lnTo>
                <a:lnTo>
                  <a:pt x="10999371" y="9581356"/>
                </a:lnTo>
                <a:lnTo>
                  <a:pt x="11007958" y="9581356"/>
                </a:lnTo>
                <a:lnTo>
                  <a:pt x="11532261" y="9289256"/>
                </a:lnTo>
                <a:close/>
              </a:path>
              <a:path w="13852525" h="11308715">
                <a:moveTo>
                  <a:pt x="4155632" y="8374856"/>
                </a:moveTo>
                <a:lnTo>
                  <a:pt x="3775727" y="8489156"/>
                </a:lnTo>
                <a:lnTo>
                  <a:pt x="3368860" y="9454356"/>
                </a:lnTo>
                <a:lnTo>
                  <a:pt x="3748765" y="9340056"/>
                </a:lnTo>
                <a:lnTo>
                  <a:pt x="4155632" y="8374856"/>
                </a:lnTo>
                <a:close/>
              </a:path>
              <a:path w="13852525" h="11308715">
                <a:moveTo>
                  <a:pt x="11727822" y="8590756"/>
                </a:moveTo>
                <a:lnTo>
                  <a:pt x="6039638" y="8590756"/>
                </a:lnTo>
                <a:lnTo>
                  <a:pt x="6052663" y="9136856"/>
                </a:lnTo>
                <a:lnTo>
                  <a:pt x="5832366" y="9365456"/>
                </a:lnTo>
                <a:lnTo>
                  <a:pt x="6185631" y="9365456"/>
                </a:lnTo>
                <a:lnTo>
                  <a:pt x="6151205" y="9213056"/>
                </a:lnTo>
                <a:lnTo>
                  <a:pt x="6315661" y="9111456"/>
                </a:lnTo>
                <a:lnTo>
                  <a:pt x="10489852" y="9111456"/>
                </a:lnTo>
                <a:lnTo>
                  <a:pt x="10362993" y="8984456"/>
                </a:lnTo>
                <a:lnTo>
                  <a:pt x="10946389" y="8603456"/>
                </a:lnTo>
                <a:lnTo>
                  <a:pt x="11714521" y="8603456"/>
                </a:lnTo>
                <a:lnTo>
                  <a:pt x="11727822" y="8590756"/>
                </a:lnTo>
                <a:close/>
              </a:path>
              <a:path w="13852525" h="11308715">
                <a:moveTo>
                  <a:pt x="13851902" y="8451056"/>
                </a:moveTo>
                <a:lnTo>
                  <a:pt x="12983206" y="9124156"/>
                </a:lnTo>
                <a:lnTo>
                  <a:pt x="13494719" y="9251156"/>
                </a:lnTo>
                <a:lnTo>
                  <a:pt x="13851902" y="8959056"/>
                </a:lnTo>
                <a:lnTo>
                  <a:pt x="13851902" y="8451056"/>
                </a:lnTo>
                <a:close/>
              </a:path>
              <a:path w="13852525" h="11308715">
                <a:moveTo>
                  <a:pt x="4964979" y="8133556"/>
                </a:moveTo>
                <a:lnTo>
                  <a:pt x="4500993" y="8285956"/>
                </a:lnTo>
                <a:lnTo>
                  <a:pt x="4165328" y="9200356"/>
                </a:lnTo>
                <a:lnTo>
                  <a:pt x="4629345" y="9047956"/>
                </a:lnTo>
                <a:lnTo>
                  <a:pt x="4964979" y="8133556"/>
                </a:lnTo>
                <a:close/>
              </a:path>
              <a:path w="13852525" h="11308715">
                <a:moveTo>
                  <a:pt x="11714521" y="8603456"/>
                </a:moveTo>
                <a:lnTo>
                  <a:pt x="10946389" y="8603456"/>
                </a:lnTo>
                <a:lnTo>
                  <a:pt x="11327843" y="8692356"/>
                </a:lnTo>
                <a:lnTo>
                  <a:pt x="10527909" y="9149556"/>
                </a:lnTo>
                <a:lnTo>
                  <a:pt x="11783015" y="9149556"/>
                </a:lnTo>
                <a:lnTo>
                  <a:pt x="12033769" y="9009856"/>
                </a:lnTo>
                <a:lnTo>
                  <a:pt x="11558349" y="8743156"/>
                </a:lnTo>
                <a:lnTo>
                  <a:pt x="11568202" y="8743156"/>
                </a:lnTo>
                <a:lnTo>
                  <a:pt x="11714521" y="8603456"/>
                </a:lnTo>
                <a:close/>
              </a:path>
              <a:path w="13852525" h="11308715">
                <a:moveTo>
                  <a:pt x="12901020" y="7993856"/>
                </a:moveTo>
                <a:lnTo>
                  <a:pt x="11907469" y="8857456"/>
                </a:lnTo>
                <a:lnTo>
                  <a:pt x="12531471" y="8997156"/>
                </a:lnTo>
                <a:lnTo>
                  <a:pt x="13525022" y="8133556"/>
                </a:lnTo>
                <a:lnTo>
                  <a:pt x="12901020" y="7993856"/>
                </a:lnTo>
                <a:close/>
              </a:path>
              <a:path w="13852525" h="11308715">
                <a:moveTo>
                  <a:pt x="5725039" y="8070056"/>
                </a:moveTo>
                <a:lnTo>
                  <a:pt x="5233589" y="8070056"/>
                </a:lnTo>
                <a:lnTo>
                  <a:pt x="5226178" y="8070286"/>
                </a:lnTo>
                <a:lnTo>
                  <a:pt x="4961838" y="8933656"/>
                </a:lnTo>
                <a:lnTo>
                  <a:pt x="5361413" y="8821283"/>
                </a:lnTo>
                <a:lnTo>
                  <a:pt x="5361491" y="8819356"/>
                </a:lnTo>
                <a:lnTo>
                  <a:pt x="5854782" y="8819356"/>
                </a:lnTo>
                <a:lnTo>
                  <a:pt x="5858953" y="8717756"/>
                </a:lnTo>
                <a:lnTo>
                  <a:pt x="5526627" y="8717756"/>
                </a:lnTo>
                <a:lnTo>
                  <a:pt x="5725039" y="8070056"/>
                </a:lnTo>
                <a:close/>
              </a:path>
              <a:path w="13852525" h="11308715">
                <a:moveTo>
                  <a:pt x="5368265" y="8819356"/>
                </a:moveTo>
                <a:lnTo>
                  <a:pt x="5361491" y="8819356"/>
                </a:lnTo>
                <a:lnTo>
                  <a:pt x="5361413" y="8821283"/>
                </a:lnTo>
                <a:lnTo>
                  <a:pt x="5368265" y="8819356"/>
                </a:lnTo>
                <a:close/>
              </a:path>
              <a:path w="13852525" h="11308715">
                <a:moveTo>
                  <a:pt x="11034068" y="8031956"/>
                </a:moveTo>
                <a:lnTo>
                  <a:pt x="5911840" y="8031956"/>
                </a:lnTo>
                <a:lnTo>
                  <a:pt x="5788671" y="8552656"/>
                </a:lnTo>
                <a:lnTo>
                  <a:pt x="5526627" y="8717756"/>
                </a:lnTo>
                <a:lnTo>
                  <a:pt x="5858953" y="8717756"/>
                </a:lnTo>
                <a:lnTo>
                  <a:pt x="5861559" y="8654256"/>
                </a:lnTo>
                <a:lnTo>
                  <a:pt x="6039638" y="8590756"/>
                </a:lnTo>
                <a:lnTo>
                  <a:pt x="11727822" y="8590756"/>
                </a:lnTo>
                <a:lnTo>
                  <a:pt x="11887442" y="8438356"/>
                </a:lnTo>
                <a:lnTo>
                  <a:pt x="10969582" y="8438356"/>
                </a:lnTo>
                <a:lnTo>
                  <a:pt x="10761483" y="8324056"/>
                </a:lnTo>
                <a:lnTo>
                  <a:pt x="11034068" y="8031956"/>
                </a:lnTo>
                <a:close/>
              </a:path>
              <a:path w="13852525" h="11308715">
                <a:moveTo>
                  <a:pt x="11954577" y="7790656"/>
                </a:moveTo>
                <a:lnTo>
                  <a:pt x="11654158" y="7790656"/>
                </a:lnTo>
                <a:lnTo>
                  <a:pt x="10969582" y="8438356"/>
                </a:lnTo>
                <a:lnTo>
                  <a:pt x="11887442" y="8438356"/>
                </a:lnTo>
                <a:lnTo>
                  <a:pt x="12446113" y="7904956"/>
                </a:lnTo>
                <a:lnTo>
                  <a:pt x="11954577" y="7790656"/>
                </a:lnTo>
                <a:close/>
              </a:path>
              <a:path w="13852525" h="11308715">
                <a:moveTo>
                  <a:pt x="979970" y="7396956"/>
                </a:moveTo>
                <a:lnTo>
                  <a:pt x="935060" y="7409656"/>
                </a:lnTo>
                <a:lnTo>
                  <a:pt x="0" y="8349456"/>
                </a:lnTo>
                <a:lnTo>
                  <a:pt x="44899" y="8336756"/>
                </a:lnTo>
                <a:lnTo>
                  <a:pt x="979970" y="7396956"/>
                </a:lnTo>
                <a:close/>
              </a:path>
              <a:path w="13852525" h="11308715">
                <a:moveTo>
                  <a:pt x="1789442" y="7384256"/>
                </a:moveTo>
                <a:lnTo>
                  <a:pt x="1660137" y="7396956"/>
                </a:lnTo>
                <a:lnTo>
                  <a:pt x="804153" y="8298656"/>
                </a:lnTo>
                <a:lnTo>
                  <a:pt x="933427" y="8298656"/>
                </a:lnTo>
                <a:lnTo>
                  <a:pt x="1789442" y="7384256"/>
                </a:lnTo>
                <a:close/>
              </a:path>
              <a:path w="13852525" h="11308715">
                <a:moveTo>
                  <a:pt x="2598884" y="7371556"/>
                </a:moveTo>
                <a:lnTo>
                  <a:pt x="2385225" y="7384256"/>
                </a:lnTo>
                <a:lnTo>
                  <a:pt x="1608296" y="8260556"/>
                </a:lnTo>
                <a:lnTo>
                  <a:pt x="1821944" y="8247856"/>
                </a:lnTo>
                <a:lnTo>
                  <a:pt x="2598884" y="7371556"/>
                </a:lnTo>
                <a:close/>
              </a:path>
              <a:path w="13852525" h="11308715">
                <a:moveTo>
                  <a:pt x="3408325" y="7358856"/>
                </a:moveTo>
                <a:lnTo>
                  <a:pt x="3110324" y="7371556"/>
                </a:lnTo>
                <a:lnTo>
                  <a:pt x="2412450" y="8222456"/>
                </a:lnTo>
                <a:lnTo>
                  <a:pt x="2710472" y="8197056"/>
                </a:lnTo>
                <a:lnTo>
                  <a:pt x="3408325" y="7358856"/>
                </a:lnTo>
                <a:close/>
              </a:path>
              <a:path w="13852525" h="11308715">
                <a:moveTo>
                  <a:pt x="4217798" y="7346156"/>
                </a:moveTo>
                <a:lnTo>
                  <a:pt x="3835401" y="7358856"/>
                </a:lnTo>
                <a:lnTo>
                  <a:pt x="3216593" y="8171656"/>
                </a:lnTo>
                <a:lnTo>
                  <a:pt x="3598979" y="8158956"/>
                </a:lnTo>
                <a:lnTo>
                  <a:pt x="4217798" y="7346156"/>
                </a:lnTo>
                <a:close/>
              </a:path>
              <a:path w="13852525" h="11308715">
                <a:moveTo>
                  <a:pt x="5027260" y="7333456"/>
                </a:moveTo>
                <a:lnTo>
                  <a:pt x="4560478" y="7346156"/>
                </a:lnTo>
                <a:lnTo>
                  <a:pt x="4020736" y="8133556"/>
                </a:lnTo>
                <a:lnTo>
                  <a:pt x="4487507" y="8108156"/>
                </a:lnTo>
                <a:lnTo>
                  <a:pt x="5027260" y="7333456"/>
                </a:lnTo>
                <a:close/>
              </a:path>
              <a:path w="13852525" h="11308715">
                <a:moveTo>
                  <a:pt x="11539800" y="6863556"/>
                </a:moveTo>
                <a:lnTo>
                  <a:pt x="5944960" y="6863556"/>
                </a:lnTo>
                <a:lnTo>
                  <a:pt x="6091165" y="6939756"/>
                </a:lnTo>
                <a:lnTo>
                  <a:pt x="5750913" y="7320756"/>
                </a:lnTo>
                <a:lnTo>
                  <a:pt x="5465456" y="7333456"/>
                </a:lnTo>
                <a:lnTo>
                  <a:pt x="5285566" y="7333456"/>
                </a:lnTo>
                <a:lnTo>
                  <a:pt x="4824879" y="8082756"/>
                </a:lnTo>
                <a:lnTo>
                  <a:pt x="5226178" y="8070286"/>
                </a:lnTo>
                <a:lnTo>
                  <a:pt x="5226249" y="8070056"/>
                </a:lnTo>
                <a:lnTo>
                  <a:pt x="5725039" y="8070056"/>
                </a:lnTo>
                <a:lnTo>
                  <a:pt x="5732820" y="8044656"/>
                </a:lnTo>
                <a:lnTo>
                  <a:pt x="5911840" y="8031956"/>
                </a:lnTo>
                <a:lnTo>
                  <a:pt x="11034068" y="8031956"/>
                </a:lnTo>
                <a:lnTo>
                  <a:pt x="11045920" y="8019256"/>
                </a:lnTo>
                <a:lnTo>
                  <a:pt x="5405133" y="8019256"/>
                </a:lnTo>
                <a:lnTo>
                  <a:pt x="5764379" y="7435056"/>
                </a:lnTo>
                <a:lnTo>
                  <a:pt x="11064475" y="7435056"/>
                </a:lnTo>
                <a:lnTo>
                  <a:pt x="11337424" y="6927056"/>
                </a:lnTo>
                <a:lnTo>
                  <a:pt x="11539800" y="6863556"/>
                </a:lnTo>
                <a:close/>
              </a:path>
              <a:path w="13852525" h="11308715">
                <a:moveTo>
                  <a:pt x="5233589" y="8070056"/>
                </a:moveTo>
                <a:lnTo>
                  <a:pt x="5226249" y="8070056"/>
                </a:lnTo>
                <a:lnTo>
                  <a:pt x="5226178" y="8070286"/>
                </a:lnTo>
                <a:lnTo>
                  <a:pt x="5233589" y="8070056"/>
                </a:lnTo>
                <a:close/>
              </a:path>
              <a:path w="13852525" h="11308715">
                <a:moveTo>
                  <a:pt x="11064475" y="7435056"/>
                </a:moveTo>
                <a:lnTo>
                  <a:pt x="5764379" y="7435056"/>
                </a:lnTo>
                <a:lnTo>
                  <a:pt x="5932290" y="7473156"/>
                </a:lnTo>
                <a:lnTo>
                  <a:pt x="5689010" y="7930356"/>
                </a:lnTo>
                <a:lnTo>
                  <a:pt x="5405133" y="8019256"/>
                </a:lnTo>
                <a:lnTo>
                  <a:pt x="11045920" y="8019256"/>
                </a:lnTo>
                <a:lnTo>
                  <a:pt x="11247395" y="7803356"/>
                </a:lnTo>
                <a:lnTo>
                  <a:pt x="11654158" y="7790656"/>
                </a:lnTo>
                <a:lnTo>
                  <a:pt x="11954577" y="7790656"/>
                </a:lnTo>
                <a:lnTo>
                  <a:pt x="11899962" y="7777956"/>
                </a:lnTo>
                <a:lnTo>
                  <a:pt x="11910475" y="7777956"/>
                </a:lnTo>
                <a:lnTo>
                  <a:pt x="11996729" y="7638256"/>
                </a:lnTo>
                <a:lnTo>
                  <a:pt x="11228548" y="7638256"/>
                </a:lnTo>
                <a:lnTo>
                  <a:pt x="10989414" y="7574756"/>
                </a:lnTo>
                <a:lnTo>
                  <a:pt x="11064475" y="7435056"/>
                </a:lnTo>
                <a:close/>
              </a:path>
              <a:path w="13852525" h="11308715">
                <a:moveTo>
                  <a:pt x="13715058" y="6647656"/>
                </a:moveTo>
                <a:lnTo>
                  <a:pt x="13049916" y="6673056"/>
                </a:lnTo>
                <a:lnTo>
                  <a:pt x="12278526" y="7790656"/>
                </a:lnTo>
                <a:lnTo>
                  <a:pt x="12943658" y="7765256"/>
                </a:lnTo>
                <a:lnTo>
                  <a:pt x="13715058" y="6647656"/>
                </a:lnTo>
                <a:close/>
              </a:path>
              <a:path w="13852525" h="11308715">
                <a:moveTo>
                  <a:pt x="13851902" y="7219156"/>
                </a:moveTo>
                <a:lnTo>
                  <a:pt x="13431926" y="7765256"/>
                </a:lnTo>
                <a:lnTo>
                  <a:pt x="13851902" y="7752556"/>
                </a:lnTo>
                <a:lnTo>
                  <a:pt x="13851902" y="7219156"/>
                </a:lnTo>
                <a:close/>
              </a:path>
              <a:path w="13852525" h="11308715">
                <a:moveTo>
                  <a:pt x="12514256" y="6800056"/>
                </a:moveTo>
                <a:lnTo>
                  <a:pt x="11742176" y="6800056"/>
                </a:lnTo>
                <a:lnTo>
                  <a:pt x="11228548" y="7638256"/>
                </a:lnTo>
                <a:lnTo>
                  <a:pt x="11996729" y="7638256"/>
                </a:lnTo>
                <a:lnTo>
                  <a:pt x="12514256" y="6800056"/>
                </a:lnTo>
                <a:close/>
              </a:path>
              <a:path w="13852525" h="11308715">
                <a:moveTo>
                  <a:pt x="5518683" y="6653162"/>
                </a:moveTo>
                <a:lnTo>
                  <a:pt x="4909473" y="7244556"/>
                </a:lnTo>
                <a:lnTo>
                  <a:pt x="5292969" y="7333456"/>
                </a:lnTo>
                <a:lnTo>
                  <a:pt x="5465456" y="7333456"/>
                </a:lnTo>
                <a:lnTo>
                  <a:pt x="5944960" y="6863556"/>
                </a:lnTo>
                <a:lnTo>
                  <a:pt x="11539800" y="6863556"/>
                </a:lnTo>
                <a:lnTo>
                  <a:pt x="11742176" y="6800056"/>
                </a:lnTo>
                <a:lnTo>
                  <a:pt x="12514256" y="6800056"/>
                </a:lnTo>
                <a:lnTo>
                  <a:pt x="12529939" y="6774656"/>
                </a:lnTo>
                <a:lnTo>
                  <a:pt x="11020240" y="6774656"/>
                </a:lnTo>
                <a:lnTo>
                  <a:pt x="11026344" y="6749256"/>
                </a:lnTo>
                <a:lnTo>
                  <a:pt x="5960991" y="6749256"/>
                </a:lnTo>
                <a:lnTo>
                  <a:pt x="5693135" y="6685756"/>
                </a:lnTo>
                <a:lnTo>
                  <a:pt x="5737997" y="6660356"/>
                </a:lnTo>
                <a:lnTo>
                  <a:pt x="5531297" y="6660356"/>
                </a:lnTo>
                <a:lnTo>
                  <a:pt x="5518683" y="6653162"/>
                </a:lnTo>
                <a:close/>
              </a:path>
              <a:path w="13852525" h="11308715">
                <a:moveTo>
                  <a:pt x="4847957" y="6482556"/>
                </a:moveTo>
                <a:lnTo>
                  <a:pt x="4151925" y="7079456"/>
                </a:lnTo>
                <a:lnTo>
                  <a:pt x="4590069" y="7181056"/>
                </a:lnTo>
                <a:lnTo>
                  <a:pt x="5286111" y="6584156"/>
                </a:lnTo>
                <a:lnTo>
                  <a:pt x="4847957" y="6482556"/>
                </a:lnTo>
                <a:close/>
              </a:path>
              <a:path w="13852525" h="11308715">
                <a:moveTo>
                  <a:pt x="4171558" y="6304756"/>
                </a:moveTo>
                <a:lnTo>
                  <a:pt x="3394367" y="6914356"/>
                </a:lnTo>
                <a:lnTo>
                  <a:pt x="3753519" y="7003256"/>
                </a:lnTo>
                <a:lnTo>
                  <a:pt x="4530731" y="6393656"/>
                </a:lnTo>
                <a:lnTo>
                  <a:pt x="4171558" y="6304756"/>
                </a:lnTo>
                <a:close/>
              </a:path>
              <a:path w="13852525" h="11308715">
                <a:moveTo>
                  <a:pt x="3495139" y="6139656"/>
                </a:moveTo>
                <a:lnTo>
                  <a:pt x="2636809" y="6761956"/>
                </a:lnTo>
                <a:lnTo>
                  <a:pt x="2916968" y="6825456"/>
                </a:lnTo>
                <a:lnTo>
                  <a:pt x="3775330" y="6203156"/>
                </a:lnTo>
                <a:lnTo>
                  <a:pt x="3495139" y="6139656"/>
                </a:lnTo>
                <a:close/>
              </a:path>
              <a:path w="13852525" h="11308715">
                <a:moveTo>
                  <a:pt x="12278779" y="5809456"/>
                </a:moveTo>
                <a:lnTo>
                  <a:pt x="11571134" y="5809456"/>
                </a:lnTo>
                <a:lnTo>
                  <a:pt x="11275332" y="6774656"/>
                </a:lnTo>
                <a:lnTo>
                  <a:pt x="12529939" y="6774656"/>
                </a:lnTo>
                <a:lnTo>
                  <a:pt x="12561304" y="6723856"/>
                </a:lnTo>
                <a:lnTo>
                  <a:pt x="11986744" y="6723856"/>
                </a:lnTo>
                <a:lnTo>
                  <a:pt x="11997286" y="6723626"/>
                </a:lnTo>
                <a:lnTo>
                  <a:pt x="12278779" y="5809456"/>
                </a:lnTo>
                <a:close/>
              </a:path>
              <a:path w="13852525" h="11308715">
                <a:moveTo>
                  <a:pt x="11117907" y="6368256"/>
                </a:moveTo>
                <a:lnTo>
                  <a:pt x="6253903" y="6368256"/>
                </a:lnTo>
                <a:lnTo>
                  <a:pt x="6369868" y="6482556"/>
                </a:lnTo>
                <a:lnTo>
                  <a:pt x="5960991" y="6749256"/>
                </a:lnTo>
                <a:lnTo>
                  <a:pt x="11026344" y="6749256"/>
                </a:lnTo>
                <a:lnTo>
                  <a:pt x="11117907" y="6368256"/>
                </a:lnTo>
                <a:close/>
              </a:path>
              <a:path w="13852525" h="11308715">
                <a:moveTo>
                  <a:pt x="11997286" y="6723626"/>
                </a:moveTo>
                <a:lnTo>
                  <a:pt x="11986744" y="6723856"/>
                </a:lnTo>
                <a:lnTo>
                  <a:pt x="11997215" y="6723856"/>
                </a:lnTo>
                <a:lnTo>
                  <a:pt x="11997286" y="6723626"/>
                </a:lnTo>
                <a:close/>
              </a:path>
              <a:path w="13852525" h="11308715">
                <a:moveTo>
                  <a:pt x="12569146" y="6711156"/>
                </a:moveTo>
                <a:lnTo>
                  <a:pt x="11997286" y="6723626"/>
                </a:lnTo>
                <a:lnTo>
                  <a:pt x="11997215" y="6723856"/>
                </a:lnTo>
                <a:lnTo>
                  <a:pt x="12561304" y="6723856"/>
                </a:lnTo>
                <a:lnTo>
                  <a:pt x="12569146" y="6711156"/>
                </a:lnTo>
                <a:close/>
              </a:path>
              <a:path w="13852525" h="11308715">
                <a:moveTo>
                  <a:pt x="5524355" y="6647656"/>
                </a:moveTo>
                <a:lnTo>
                  <a:pt x="5518683" y="6653162"/>
                </a:lnTo>
                <a:lnTo>
                  <a:pt x="5531297" y="6660356"/>
                </a:lnTo>
                <a:lnTo>
                  <a:pt x="5524355" y="6647656"/>
                </a:lnTo>
                <a:close/>
              </a:path>
              <a:path w="13852525" h="11308715">
                <a:moveTo>
                  <a:pt x="5760427" y="6647656"/>
                </a:moveTo>
                <a:lnTo>
                  <a:pt x="5524355" y="6647656"/>
                </a:lnTo>
                <a:lnTo>
                  <a:pt x="5531297" y="6660356"/>
                </a:lnTo>
                <a:lnTo>
                  <a:pt x="5737997" y="6660356"/>
                </a:lnTo>
                <a:lnTo>
                  <a:pt x="5760427" y="6647656"/>
                </a:lnTo>
                <a:close/>
              </a:path>
              <a:path w="13852525" h="11308715">
                <a:moveTo>
                  <a:pt x="6424317" y="5606831"/>
                </a:moveTo>
                <a:lnTo>
                  <a:pt x="5657293" y="5809456"/>
                </a:lnTo>
                <a:lnTo>
                  <a:pt x="5922374" y="6063456"/>
                </a:lnTo>
                <a:lnTo>
                  <a:pt x="5916343" y="6063456"/>
                </a:lnTo>
                <a:lnTo>
                  <a:pt x="5197244" y="6469856"/>
                </a:lnTo>
                <a:lnTo>
                  <a:pt x="5518683" y="6653162"/>
                </a:lnTo>
                <a:lnTo>
                  <a:pt x="5524355" y="6647656"/>
                </a:lnTo>
                <a:lnTo>
                  <a:pt x="5760427" y="6647656"/>
                </a:lnTo>
                <a:lnTo>
                  <a:pt x="6253903" y="6368256"/>
                </a:lnTo>
                <a:lnTo>
                  <a:pt x="11117907" y="6368256"/>
                </a:lnTo>
                <a:lnTo>
                  <a:pt x="11142323" y="6266656"/>
                </a:lnTo>
                <a:lnTo>
                  <a:pt x="6296677" y="6266656"/>
                </a:lnTo>
                <a:lnTo>
                  <a:pt x="6063354" y="6139656"/>
                </a:lnTo>
                <a:lnTo>
                  <a:pt x="6663200" y="5987256"/>
                </a:lnTo>
                <a:lnTo>
                  <a:pt x="10839816" y="5987256"/>
                </a:lnTo>
                <a:lnTo>
                  <a:pt x="10837873" y="5898356"/>
                </a:lnTo>
                <a:lnTo>
                  <a:pt x="6728318" y="5898356"/>
                </a:lnTo>
                <a:lnTo>
                  <a:pt x="6543162" y="5720556"/>
                </a:lnTo>
                <a:lnTo>
                  <a:pt x="7526064" y="5720556"/>
                </a:lnTo>
                <a:lnTo>
                  <a:pt x="7221518" y="5657056"/>
                </a:lnTo>
                <a:lnTo>
                  <a:pt x="7199043" y="5618956"/>
                </a:lnTo>
                <a:lnTo>
                  <a:pt x="6431280" y="5618956"/>
                </a:lnTo>
                <a:lnTo>
                  <a:pt x="6424317" y="5606831"/>
                </a:lnTo>
                <a:close/>
              </a:path>
              <a:path w="13852525" h="11308715">
                <a:moveTo>
                  <a:pt x="2818762" y="5961856"/>
                </a:moveTo>
                <a:lnTo>
                  <a:pt x="1879251" y="6596856"/>
                </a:lnTo>
                <a:lnTo>
                  <a:pt x="2080439" y="6634956"/>
                </a:lnTo>
                <a:lnTo>
                  <a:pt x="3019960" y="5999956"/>
                </a:lnTo>
                <a:lnTo>
                  <a:pt x="2818762" y="5961856"/>
                </a:lnTo>
                <a:close/>
              </a:path>
              <a:path w="13852525" h="11308715">
                <a:moveTo>
                  <a:pt x="13512185" y="5123656"/>
                </a:moveTo>
                <a:lnTo>
                  <a:pt x="12850645" y="5326856"/>
                </a:lnTo>
                <a:lnTo>
                  <a:pt x="12369675" y="6634956"/>
                </a:lnTo>
                <a:lnTo>
                  <a:pt x="13031205" y="6431756"/>
                </a:lnTo>
                <a:lnTo>
                  <a:pt x="13512185" y="5123656"/>
                </a:lnTo>
                <a:close/>
              </a:path>
              <a:path w="13852525" h="11308715">
                <a:moveTo>
                  <a:pt x="2142343" y="5784056"/>
                </a:moveTo>
                <a:lnTo>
                  <a:pt x="1121683" y="6431756"/>
                </a:lnTo>
                <a:lnTo>
                  <a:pt x="1243888" y="6457156"/>
                </a:lnTo>
                <a:lnTo>
                  <a:pt x="2264569" y="5809456"/>
                </a:lnTo>
                <a:lnTo>
                  <a:pt x="2142343" y="5784056"/>
                </a:lnTo>
                <a:close/>
              </a:path>
              <a:path w="13852525" h="11308715">
                <a:moveTo>
                  <a:pt x="5331094" y="5733256"/>
                </a:moveTo>
                <a:lnTo>
                  <a:pt x="4534301" y="6126956"/>
                </a:lnTo>
                <a:lnTo>
                  <a:pt x="4916153" y="6330156"/>
                </a:lnTo>
                <a:lnTo>
                  <a:pt x="5712935" y="5936456"/>
                </a:lnTo>
                <a:lnTo>
                  <a:pt x="5331094" y="5733256"/>
                </a:lnTo>
                <a:close/>
              </a:path>
              <a:path w="13852525" h="11308715">
                <a:moveTo>
                  <a:pt x="13851902" y="5530056"/>
                </a:moveTo>
                <a:lnTo>
                  <a:pt x="13523546" y="6304756"/>
                </a:lnTo>
                <a:lnTo>
                  <a:pt x="13851902" y="6203156"/>
                </a:lnTo>
                <a:lnTo>
                  <a:pt x="13851902" y="5530056"/>
                </a:lnTo>
                <a:close/>
              </a:path>
              <a:path w="13852525" h="11308715">
                <a:moveTo>
                  <a:pt x="1509179" y="5618956"/>
                </a:moveTo>
                <a:lnTo>
                  <a:pt x="1465955" y="5618956"/>
                </a:lnTo>
                <a:lnTo>
                  <a:pt x="364135" y="6266656"/>
                </a:lnTo>
                <a:lnTo>
                  <a:pt x="407359" y="6266656"/>
                </a:lnTo>
                <a:lnTo>
                  <a:pt x="1509179" y="5618956"/>
                </a:lnTo>
                <a:close/>
              </a:path>
              <a:path w="13852525" h="11308715">
                <a:moveTo>
                  <a:pt x="11840169" y="4882356"/>
                </a:moveTo>
                <a:lnTo>
                  <a:pt x="11137440" y="4882356"/>
                </a:lnTo>
                <a:lnTo>
                  <a:pt x="11093704" y="5898356"/>
                </a:lnTo>
                <a:lnTo>
                  <a:pt x="10839816" y="5987256"/>
                </a:lnTo>
                <a:lnTo>
                  <a:pt x="6663200" y="5987256"/>
                </a:lnTo>
                <a:lnTo>
                  <a:pt x="6742904" y="6126956"/>
                </a:lnTo>
                <a:lnTo>
                  <a:pt x="6296677" y="6266656"/>
                </a:lnTo>
                <a:lnTo>
                  <a:pt x="11142323" y="6266656"/>
                </a:lnTo>
                <a:lnTo>
                  <a:pt x="11197261" y="6038056"/>
                </a:lnTo>
                <a:lnTo>
                  <a:pt x="11571134" y="5809456"/>
                </a:lnTo>
                <a:lnTo>
                  <a:pt x="12278779" y="5809456"/>
                </a:lnTo>
                <a:lnTo>
                  <a:pt x="12321796" y="5669756"/>
                </a:lnTo>
                <a:lnTo>
                  <a:pt x="11797054" y="5669756"/>
                </a:lnTo>
                <a:lnTo>
                  <a:pt x="11806857" y="5666748"/>
                </a:lnTo>
                <a:lnTo>
                  <a:pt x="11840169" y="4882356"/>
                </a:lnTo>
                <a:close/>
              </a:path>
              <a:path w="13852525" h="11308715">
                <a:moveTo>
                  <a:pt x="4745855" y="5390356"/>
                </a:moveTo>
                <a:lnTo>
                  <a:pt x="3871369" y="5784056"/>
                </a:lnTo>
                <a:lnTo>
                  <a:pt x="4184595" y="5949156"/>
                </a:lnTo>
                <a:lnTo>
                  <a:pt x="5059081" y="5568156"/>
                </a:lnTo>
                <a:lnTo>
                  <a:pt x="4745855" y="5390356"/>
                </a:lnTo>
                <a:close/>
              </a:path>
              <a:path w="13852525" h="11308715">
                <a:moveTo>
                  <a:pt x="7526064" y="5720556"/>
                </a:moveTo>
                <a:lnTo>
                  <a:pt x="7139688" y="5720556"/>
                </a:lnTo>
                <a:lnTo>
                  <a:pt x="7179875" y="5872956"/>
                </a:lnTo>
                <a:lnTo>
                  <a:pt x="6728318" y="5898356"/>
                </a:lnTo>
                <a:lnTo>
                  <a:pt x="10837873" y="5898356"/>
                </a:lnTo>
                <a:lnTo>
                  <a:pt x="10834542" y="5745956"/>
                </a:lnTo>
                <a:lnTo>
                  <a:pt x="7647882" y="5745956"/>
                </a:lnTo>
                <a:lnTo>
                  <a:pt x="7526064" y="5720556"/>
                </a:lnTo>
                <a:close/>
              </a:path>
              <a:path w="13852525" h="11308715">
                <a:moveTo>
                  <a:pt x="7709259" y="5441156"/>
                </a:moveTo>
                <a:lnTo>
                  <a:pt x="7094160" y="5441156"/>
                </a:lnTo>
                <a:lnTo>
                  <a:pt x="7647651" y="5593556"/>
                </a:lnTo>
                <a:lnTo>
                  <a:pt x="7647882" y="5745956"/>
                </a:lnTo>
                <a:lnTo>
                  <a:pt x="10834542" y="5745956"/>
                </a:lnTo>
                <a:lnTo>
                  <a:pt x="10831212" y="5593556"/>
                </a:lnTo>
                <a:lnTo>
                  <a:pt x="7807228" y="5593556"/>
                </a:lnTo>
                <a:lnTo>
                  <a:pt x="7739743" y="5555456"/>
                </a:lnTo>
                <a:lnTo>
                  <a:pt x="7709259" y="5441156"/>
                </a:lnTo>
                <a:close/>
              </a:path>
              <a:path w="13852525" h="11308715">
                <a:moveTo>
                  <a:pt x="11806857" y="5666748"/>
                </a:moveTo>
                <a:lnTo>
                  <a:pt x="11797054" y="5669756"/>
                </a:lnTo>
                <a:lnTo>
                  <a:pt x="11806729" y="5669756"/>
                </a:lnTo>
                <a:lnTo>
                  <a:pt x="11806857" y="5666748"/>
                </a:lnTo>
                <a:close/>
              </a:path>
              <a:path w="13852525" h="11308715">
                <a:moveTo>
                  <a:pt x="12376544" y="5491956"/>
                </a:moveTo>
                <a:lnTo>
                  <a:pt x="11806857" y="5666748"/>
                </a:lnTo>
                <a:lnTo>
                  <a:pt x="11806729" y="5669756"/>
                </a:lnTo>
                <a:lnTo>
                  <a:pt x="12321796" y="5669756"/>
                </a:lnTo>
                <a:lnTo>
                  <a:pt x="12376544" y="5491956"/>
                </a:lnTo>
                <a:close/>
              </a:path>
              <a:path w="13852525" h="11308715">
                <a:moveTo>
                  <a:pt x="6426495" y="5606256"/>
                </a:moveTo>
                <a:lnTo>
                  <a:pt x="6424317" y="5606831"/>
                </a:lnTo>
                <a:lnTo>
                  <a:pt x="6431280" y="5618956"/>
                </a:lnTo>
                <a:lnTo>
                  <a:pt x="6426495" y="5606256"/>
                </a:lnTo>
                <a:close/>
              </a:path>
              <a:path w="13852525" h="11308715">
                <a:moveTo>
                  <a:pt x="7191551" y="5606256"/>
                </a:moveTo>
                <a:lnTo>
                  <a:pt x="6426495" y="5606256"/>
                </a:lnTo>
                <a:lnTo>
                  <a:pt x="6431280" y="5618956"/>
                </a:lnTo>
                <a:lnTo>
                  <a:pt x="7199043" y="5618956"/>
                </a:lnTo>
                <a:lnTo>
                  <a:pt x="7191551" y="5606256"/>
                </a:lnTo>
                <a:close/>
              </a:path>
              <a:path w="13852525" h="11308715">
                <a:moveTo>
                  <a:pt x="7013797" y="5301456"/>
                </a:moveTo>
                <a:lnTo>
                  <a:pt x="6248940" y="5301456"/>
                </a:lnTo>
                <a:lnTo>
                  <a:pt x="6424317" y="5606831"/>
                </a:lnTo>
                <a:lnTo>
                  <a:pt x="6426495" y="5606256"/>
                </a:lnTo>
                <a:lnTo>
                  <a:pt x="7191551" y="5606256"/>
                </a:lnTo>
                <a:lnTo>
                  <a:pt x="7094160" y="5441156"/>
                </a:lnTo>
                <a:lnTo>
                  <a:pt x="7709259" y="5441156"/>
                </a:lnTo>
                <a:lnTo>
                  <a:pt x="7675389" y="5314156"/>
                </a:lnTo>
                <a:lnTo>
                  <a:pt x="7017210" y="5314156"/>
                </a:lnTo>
                <a:lnTo>
                  <a:pt x="7013797" y="5301456"/>
                </a:lnTo>
                <a:close/>
              </a:path>
              <a:path w="13852525" h="11308715">
                <a:moveTo>
                  <a:pt x="5966362" y="5149056"/>
                </a:moveTo>
                <a:lnTo>
                  <a:pt x="5127917" y="5314156"/>
                </a:lnTo>
                <a:lnTo>
                  <a:pt x="5431122" y="5606256"/>
                </a:lnTo>
                <a:lnTo>
                  <a:pt x="6269568" y="5441156"/>
                </a:lnTo>
                <a:lnTo>
                  <a:pt x="5966362" y="5149056"/>
                </a:lnTo>
                <a:close/>
              </a:path>
              <a:path w="13852525" h="11308715">
                <a:moveTo>
                  <a:pt x="10824828" y="5301456"/>
                </a:moveTo>
                <a:lnTo>
                  <a:pt x="7013912" y="5301456"/>
                </a:lnTo>
                <a:lnTo>
                  <a:pt x="7017210" y="5314156"/>
                </a:lnTo>
                <a:lnTo>
                  <a:pt x="7675389" y="5314156"/>
                </a:lnTo>
                <a:lnTo>
                  <a:pt x="7851561" y="5428456"/>
                </a:lnTo>
                <a:lnTo>
                  <a:pt x="7807228" y="5593556"/>
                </a:lnTo>
                <a:lnTo>
                  <a:pt x="10831212" y="5593556"/>
                </a:lnTo>
                <a:lnTo>
                  <a:pt x="10824828" y="5301456"/>
                </a:lnTo>
                <a:close/>
              </a:path>
              <a:path w="13852525" h="11308715">
                <a:moveTo>
                  <a:pt x="4160606" y="5060156"/>
                </a:moveTo>
                <a:lnTo>
                  <a:pt x="3208425" y="5428456"/>
                </a:lnTo>
                <a:lnTo>
                  <a:pt x="3453025" y="5568156"/>
                </a:lnTo>
                <a:lnTo>
                  <a:pt x="4405227" y="5187156"/>
                </a:lnTo>
                <a:lnTo>
                  <a:pt x="4160606" y="5060156"/>
                </a:lnTo>
                <a:close/>
              </a:path>
              <a:path w="13852525" h="11308715">
                <a:moveTo>
                  <a:pt x="12906926" y="3688556"/>
                </a:moveTo>
                <a:lnTo>
                  <a:pt x="12296149" y="4056856"/>
                </a:lnTo>
                <a:lnTo>
                  <a:pt x="12157399" y="5479256"/>
                </a:lnTo>
                <a:lnTo>
                  <a:pt x="12768176" y="5098256"/>
                </a:lnTo>
                <a:lnTo>
                  <a:pt x="12906926" y="3688556"/>
                </a:lnTo>
                <a:close/>
              </a:path>
              <a:path w="13852525" h="11308715">
                <a:moveTo>
                  <a:pt x="6925066" y="4971256"/>
                </a:moveTo>
                <a:lnTo>
                  <a:pt x="7017210" y="5314156"/>
                </a:lnTo>
                <a:lnTo>
                  <a:pt x="7013912" y="5301456"/>
                </a:lnTo>
                <a:lnTo>
                  <a:pt x="10824828" y="5301456"/>
                </a:lnTo>
                <a:lnTo>
                  <a:pt x="10823717" y="5250656"/>
                </a:lnTo>
                <a:lnTo>
                  <a:pt x="10448079" y="5250656"/>
                </a:lnTo>
                <a:lnTo>
                  <a:pt x="10425930" y="5174456"/>
                </a:lnTo>
                <a:lnTo>
                  <a:pt x="7634846" y="5174456"/>
                </a:lnTo>
                <a:lnTo>
                  <a:pt x="6925066" y="4971256"/>
                </a:lnTo>
                <a:close/>
              </a:path>
              <a:path w="13852525" h="11308715">
                <a:moveTo>
                  <a:pt x="11205803" y="4082256"/>
                </a:moveTo>
                <a:lnTo>
                  <a:pt x="10455922" y="4082256"/>
                </a:lnTo>
                <a:lnTo>
                  <a:pt x="10682669" y="5098256"/>
                </a:lnTo>
                <a:lnTo>
                  <a:pt x="10448079" y="5250656"/>
                </a:lnTo>
                <a:lnTo>
                  <a:pt x="10823717" y="5250656"/>
                </a:lnTo>
                <a:lnTo>
                  <a:pt x="10822885" y="5212556"/>
                </a:lnTo>
                <a:lnTo>
                  <a:pt x="11137440" y="4882356"/>
                </a:lnTo>
                <a:lnTo>
                  <a:pt x="11840169" y="4882356"/>
                </a:lnTo>
                <a:lnTo>
                  <a:pt x="11848798" y="4679156"/>
                </a:lnTo>
                <a:lnTo>
                  <a:pt x="11327529" y="4679156"/>
                </a:lnTo>
                <a:lnTo>
                  <a:pt x="11335665" y="4666456"/>
                </a:lnTo>
                <a:lnTo>
                  <a:pt x="11205803" y="4082256"/>
                </a:lnTo>
                <a:close/>
              </a:path>
              <a:path w="13852525" h="11308715">
                <a:moveTo>
                  <a:pt x="3575367" y="4729956"/>
                </a:moveTo>
                <a:lnTo>
                  <a:pt x="2545503" y="5085556"/>
                </a:lnTo>
                <a:lnTo>
                  <a:pt x="2721508" y="5174456"/>
                </a:lnTo>
                <a:lnTo>
                  <a:pt x="3751372" y="4818856"/>
                </a:lnTo>
                <a:lnTo>
                  <a:pt x="3575367" y="4729956"/>
                </a:lnTo>
                <a:close/>
              </a:path>
              <a:path w="13852525" h="11308715">
                <a:moveTo>
                  <a:pt x="7635599" y="4831556"/>
                </a:moveTo>
                <a:lnTo>
                  <a:pt x="7636510" y="5174456"/>
                </a:lnTo>
                <a:lnTo>
                  <a:pt x="10425930" y="5174456"/>
                </a:lnTo>
                <a:lnTo>
                  <a:pt x="10381632" y="5022056"/>
                </a:lnTo>
                <a:lnTo>
                  <a:pt x="7958396" y="5022056"/>
                </a:lnTo>
                <a:lnTo>
                  <a:pt x="7635599" y="4831556"/>
                </a:lnTo>
                <a:close/>
              </a:path>
              <a:path w="13852525" h="11308715">
                <a:moveTo>
                  <a:pt x="5880899" y="4704556"/>
                </a:moveTo>
                <a:lnTo>
                  <a:pt x="6089699" y="5047456"/>
                </a:lnTo>
                <a:lnTo>
                  <a:pt x="6911307" y="5098256"/>
                </a:lnTo>
                <a:lnTo>
                  <a:pt x="6702487" y="4742656"/>
                </a:lnTo>
                <a:lnTo>
                  <a:pt x="5880899" y="4704556"/>
                </a:lnTo>
                <a:close/>
              </a:path>
              <a:path w="13852525" h="11308715">
                <a:moveTo>
                  <a:pt x="5506209" y="4679156"/>
                </a:moveTo>
                <a:lnTo>
                  <a:pt x="4598540" y="4818856"/>
                </a:lnTo>
                <a:lnTo>
                  <a:pt x="4847496" y="5060156"/>
                </a:lnTo>
                <a:lnTo>
                  <a:pt x="5755175" y="4920456"/>
                </a:lnTo>
                <a:lnTo>
                  <a:pt x="5506209" y="4679156"/>
                </a:lnTo>
                <a:close/>
              </a:path>
              <a:path w="13852525" h="11308715">
                <a:moveTo>
                  <a:pt x="7623663" y="4145756"/>
                </a:moveTo>
                <a:lnTo>
                  <a:pt x="7625328" y="4539456"/>
                </a:lnTo>
                <a:lnTo>
                  <a:pt x="8015075" y="4806156"/>
                </a:lnTo>
                <a:lnTo>
                  <a:pt x="7958396" y="5022056"/>
                </a:lnTo>
                <a:lnTo>
                  <a:pt x="10381632" y="5022056"/>
                </a:lnTo>
                <a:lnTo>
                  <a:pt x="10267195" y="4628356"/>
                </a:lnTo>
                <a:lnTo>
                  <a:pt x="9859992" y="4628356"/>
                </a:lnTo>
                <a:lnTo>
                  <a:pt x="9760072" y="4463256"/>
                </a:lnTo>
                <a:lnTo>
                  <a:pt x="8084937" y="4463256"/>
                </a:lnTo>
                <a:lnTo>
                  <a:pt x="7623663" y="4145756"/>
                </a:lnTo>
                <a:close/>
              </a:path>
              <a:path w="13852525" h="11308715">
                <a:moveTo>
                  <a:pt x="6733763" y="4310856"/>
                </a:moveTo>
                <a:lnTo>
                  <a:pt x="6839582" y="4691856"/>
                </a:lnTo>
                <a:lnTo>
                  <a:pt x="7590302" y="4945856"/>
                </a:lnTo>
                <a:lnTo>
                  <a:pt x="7484484" y="4564856"/>
                </a:lnTo>
                <a:lnTo>
                  <a:pt x="6733763" y="4310856"/>
                </a:lnTo>
                <a:close/>
              </a:path>
              <a:path w="13852525" h="11308715">
                <a:moveTo>
                  <a:pt x="13851902" y="3078956"/>
                </a:moveTo>
                <a:lnTo>
                  <a:pt x="13451318" y="3332956"/>
                </a:lnTo>
                <a:lnTo>
                  <a:pt x="13229900" y="4844256"/>
                </a:lnTo>
                <a:lnTo>
                  <a:pt x="13729634" y="4526756"/>
                </a:lnTo>
                <a:lnTo>
                  <a:pt x="13851902" y="3688556"/>
                </a:lnTo>
                <a:lnTo>
                  <a:pt x="13851902" y="3078956"/>
                </a:lnTo>
                <a:close/>
              </a:path>
              <a:path w="13852525" h="11308715">
                <a:moveTo>
                  <a:pt x="2990128" y="4387056"/>
                </a:moveTo>
                <a:lnTo>
                  <a:pt x="1882560" y="4742656"/>
                </a:lnTo>
                <a:lnTo>
                  <a:pt x="1989928" y="4793456"/>
                </a:lnTo>
                <a:lnTo>
                  <a:pt x="3097518" y="4437856"/>
                </a:lnTo>
                <a:lnTo>
                  <a:pt x="2990128" y="4387056"/>
                </a:lnTo>
                <a:close/>
              </a:path>
              <a:path w="13852525" h="11308715">
                <a:moveTo>
                  <a:pt x="11862822" y="4348956"/>
                </a:moveTo>
                <a:lnTo>
                  <a:pt x="11327529" y="4679156"/>
                </a:lnTo>
                <a:lnTo>
                  <a:pt x="11848798" y="4679156"/>
                </a:lnTo>
                <a:lnTo>
                  <a:pt x="11862822" y="4348956"/>
                </a:lnTo>
                <a:close/>
              </a:path>
              <a:path w="13852525" h="11308715">
                <a:moveTo>
                  <a:pt x="10419085" y="3472656"/>
                </a:moveTo>
                <a:lnTo>
                  <a:pt x="9559876" y="3472656"/>
                </a:lnTo>
                <a:lnTo>
                  <a:pt x="10057473" y="4412456"/>
                </a:lnTo>
                <a:lnTo>
                  <a:pt x="9859992" y="4628356"/>
                </a:lnTo>
                <a:lnTo>
                  <a:pt x="10267195" y="4628356"/>
                </a:lnTo>
                <a:lnTo>
                  <a:pt x="10226589" y="4488656"/>
                </a:lnTo>
                <a:lnTo>
                  <a:pt x="10455922" y="4082256"/>
                </a:lnTo>
                <a:lnTo>
                  <a:pt x="11205803" y="4082256"/>
                </a:lnTo>
                <a:lnTo>
                  <a:pt x="11149342" y="3828256"/>
                </a:lnTo>
                <a:lnTo>
                  <a:pt x="10594494" y="3828256"/>
                </a:lnTo>
                <a:lnTo>
                  <a:pt x="10600441" y="3815556"/>
                </a:lnTo>
                <a:lnTo>
                  <a:pt x="10419085" y="3472656"/>
                </a:lnTo>
                <a:close/>
              </a:path>
              <a:path w="13852525" h="11308715">
                <a:moveTo>
                  <a:pt x="5046076" y="4209256"/>
                </a:moveTo>
                <a:lnTo>
                  <a:pt x="4069174" y="4323556"/>
                </a:lnTo>
                <a:lnTo>
                  <a:pt x="4263849" y="4501356"/>
                </a:lnTo>
                <a:lnTo>
                  <a:pt x="5240793" y="4399756"/>
                </a:lnTo>
                <a:lnTo>
                  <a:pt x="5046076" y="4209256"/>
                </a:lnTo>
                <a:close/>
              </a:path>
              <a:path w="13852525" h="11308715">
                <a:moveTo>
                  <a:pt x="5512868" y="4094956"/>
                </a:moveTo>
                <a:lnTo>
                  <a:pt x="5684591" y="4387056"/>
                </a:lnTo>
                <a:lnTo>
                  <a:pt x="6562805" y="4475956"/>
                </a:lnTo>
                <a:lnTo>
                  <a:pt x="6391082" y="4196556"/>
                </a:lnTo>
                <a:lnTo>
                  <a:pt x="5512868" y="4094956"/>
                </a:lnTo>
                <a:close/>
              </a:path>
              <a:path w="13852525" h="11308715">
                <a:moveTo>
                  <a:pt x="7611736" y="3472656"/>
                </a:moveTo>
                <a:lnTo>
                  <a:pt x="7613820" y="3790156"/>
                </a:lnTo>
                <a:lnTo>
                  <a:pt x="8154243" y="4209256"/>
                </a:lnTo>
                <a:lnTo>
                  <a:pt x="8084937" y="4463256"/>
                </a:lnTo>
                <a:lnTo>
                  <a:pt x="9760072" y="4463256"/>
                </a:lnTo>
                <a:lnTo>
                  <a:pt x="9583289" y="4171156"/>
                </a:lnTo>
                <a:lnTo>
                  <a:pt x="9105377" y="4171156"/>
                </a:lnTo>
                <a:lnTo>
                  <a:pt x="8844315" y="3929856"/>
                </a:lnTo>
                <a:lnTo>
                  <a:pt x="8225341" y="3929856"/>
                </a:lnTo>
                <a:lnTo>
                  <a:pt x="7611736" y="3472656"/>
                </a:lnTo>
                <a:close/>
              </a:path>
              <a:path w="13852525" h="11308715">
                <a:moveTo>
                  <a:pt x="2404879" y="4056856"/>
                </a:moveTo>
                <a:lnTo>
                  <a:pt x="1219606" y="4387056"/>
                </a:lnTo>
                <a:lnTo>
                  <a:pt x="1258380" y="4412456"/>
                </a:lnTo>
                <a:lnTo>
                  <a:pt x="2443632" y="4069556"/>
                </a:lnTo>
                <a:lnTo>
                  <a:pt x="2404879" y="4056856"/>
                </a:lnTo>
                <a:close/>
              </a:path>
              <a:path w="13852525" h="11308715">
                <a:moveTo>
                  <a:pt x="11917783" y="2418556"/>
                </a:moveTo>
                <a:lnTo>
                  <a:pt x="11404218" y="2964656"/>
                </a:lnTo>
                <a:lnTo>
                  <a:pt x="11638347" y="4387056"/>
                </a:lnTo>
                <a:lnTo>
                  <a:pt x="12151912" y="3853656"/>
                </a:lnTo>
                <a:lnTo>
                  <a:pt x="11917783" y="2418556"/>
                </a:lnTo>
                <a:close/>
              </a:path>
              <a:path w="13852525" h="11308715">
                <a:moveTo>
                  <a:pt x="6542429" y="3637756"/>
                </a:moveTo>
                <a:lnTo>
                  <a:pt x="6629840" y="3955256"/>
                </a:lnTo>
                <a:lnTo>
                  <a:pt x="7421512" y="4272756"/>
                </a:lnTo>
                <a:lnTo>
                  <a:pt x="7334111" y="3955256"/>
                </a:lnTo>
                <a:lnTo>
                  <a:pt x="6542429" y="3637756"/>
                </a:lnTo>
                <a:close/>
              </a:path>
              <a:path w="13852525" h="11308715">
                <a:moveTo>
                  <a:pt x="8675913" y="2151856"/>
                </a:moveTo>
                <a:lnTo>
                  <a:pt x="8439135" y="3053556"/>
                </a:lnTo>
                <a:lnTo>
                  <a:pt x="9249467" y="3917156"/>
                </a:lnTo>
                <a:lnTo>
                  <a:pt x="9105377" y="4171156"/>
                </a:lnTo>
                <a:lnTo>
                  <a:pt x="9583289" y="4171156"/>
                </a:lnTo>
                <a:lnTo>
                  <a:pt x="9437251" y="3929856"/>
                </a:lnTo>
                <a:lnTo>
                  <a:pt x="9559876" y="3472656"/>
                </a:lnTo>
                <a:lnTo>
                  <a:pt x="10419085" y="3472656"/>
                </a:lnTo>
                <a:lnTo>
                  <a:pt x="10271313" y="3193256"/>
                </a:lnTo>
                <a:lnTo>
                  <a:pt x="9633989" y="3193256"/>
                </a:lnTo>
                <a:lnTo>
                  <a:pt x="9637151" y="3180556"/>
                </a:lnTo>
                <a:lnTo>
                  <a:pt x="8675913" y="2151856"/>
                </a:lnTo>
                <a:close/>
              </a:path>
              <a:path w="13852525" h="11308715">
                <a:moveTo>
                  <a:pt x="4585933" y="3739356"/>
                </a:moveTo>
                <a:lnTo>
                  <a:pt x="3539797" y="3828256"/>
                </a:lnTo>
                <a:lnTo>
                  <a:pt x="3680254" y="3955256"/>
                </a:lnTo>
                <a:lnTo>
                  <a:pt x="4726390" y="3879056"/>
                </a:lnTo>
                <a:lnTo>
                  <a:pt x="4585933" y="3739356"/>
                </a:lnTo>
                <a:close/>
              </a:path>
              <a:path w="13852525" h="11308715">
                <a:moveTo>
                  <a:pt x="8349672" y="3472656"/>
                </a:moveTo>
                <a:lnTo>
                  <a:pt x="8225341" y="3929856"/>
                </a:lnTo>
                <a:lnTo>
                  <a:pt x="8844315" y="3929856"/>
                </a:lnTo>
                <a:lnTo>
                  <a:pt x="8349672" y="3472656"/>
                </a:lnTo>
                <a:close/>
              </a:path>
              <a:path w="13852525" h="11308715">
                <a:moveTo>
                  <a:pt x="5144827" y="3485356"/>
                </a:moveTo>
                <a:lnTo>
                  <a:pt x="5279462" y="3713956"/>
                </a:lnTo>
                <a:lnTo>
                  <a:pt x="6214302" y="3853656"/>
                </a:lnTo>
                <a:lnTo>
                  <a:pt x="6079668" y="3637756"/>
                </a:lnTo>
                <a:lnTo>
                  <a:pt x="5144827" y="3485356"/>
                </a:lnTo>
                <a:close/>
              </a:path>
              <a:path w="13852525" h="11308715">
                <a:moveTo>
                  <a:pt x="11044888" y="3358356"/>
                </a:moveTo>
                <a:lnTo>
                  <a:pt x="10594494" y="3828256"/>
                </a:lnTo>
                <a:lnTo>
                  <a:pt x="11149342" y="3828256"/>
                </a:lnTo>
                <a:lnTo>
                  <a:pt x="11044888" y="3358356"/>
                </a:lnTo>
                <a:close/>
              </a:path>
              <a:path w="13852525" h="11308715">
                <a:moveTo>
                  <a:pt x="7599810" y="2786856"/>
                </a:moveTo>
                <a:lnTo>
                  <a:pt x="7602313" y="3040856"/>
                </a:lnTo>
                <a:lnTo>
                  <a:pt x="8282857" y="3612356"/>
                </a:lnTo>
                <a:lnTo>
                  <a:pt x="8280355" y="3358356"/>
                </a:lnTo>
                <a:lnTo>
                  <a:pt x="7599810" y="2786856"/>
                </a:lnTo>
                <a:close/>
              </a:path>
              <a:path w="13852525" h="11308715">
                <a:moveTo>
                  <a:pt x="6351115" y="2977356"/>
                </a:moveTo>
                <a:lnTo>
                  <a:pt x="6420118" y="3218656"/>
                </a:lnTo>
                <a:lnTo>
                  <a:pt x="7252732" y="3599656"/>
                </a:lnTo>
                <a:lnTo>
                  <a:pt x="7183739" y="3345656"/>
                </a:lnTo>
                <a:lnTo>
                  <a:pt x="6351115" y="2977356"/>
                </a:lnTo>
                <a:close/>
              </a:path>
              <a:path w="13852525" h="11308715">
                <a:moveTo>
                  <a:pt x="12790678" y="1491456"/>
                </a:moveTo>
                <a:lnTo>
                  <a:pt x="12370890" y="1923256"/>
                </a:lnTo>
                <a:lnTo>
                  <a:pt x="12548382" y="3472656"/>
                </a:lnTo>
                <a:lnTo>
                  <a:pt x="12968181" y="3040856"/>
                </a:lnTo>
                <a:lnTo>
                  <a:pt x="12790678" y="1491456"/>
                </a:lnTo>
                <a:close/>
              </a:path>
              <a:path w="13852525" h="11308715">
                <a:moveTo>
                  <a:pt x="10591646" y="1453356"/>
                </a:moveTo>
                <a:lnTo>
                  <a:pt x="10217657" y="2113756"/>
                </a:lnTo>
                <a:lnTo>
                  <a:pt x="10830727" y="3459956"/>
                </a:lnTo>
                <a:lnTo>
                  <a:pt x="11204716" y="2799556"/>
                </a:lnTo>
                <a:lnTo>
                  <a:pt x="10591646" y="1453356"/>
                </a:lnTo>
                <a:close/>
              </a:path>
              <a:path w="13852525" h="11308715">
                <a:moveTo>
                  <a:pt x="4125801" y="3282156"/>
                </a:moveTo>
                <a:lnTo>
                  <a:pt x="3010421" y="3332956"/>
                </a:lnTo>
                <a:lnTo>
                  <a:pt x="3096628" y="3409156"/>
                </a:lnTo>
                <a:lnTo>
                  <a:pt x="4212018" y="3358356"/>
                </a:lnTo>
                <a:lnTo>
                  <a:pt x="4125801" y="3282156"/>
                </a:lnTo>
                <a:close/>
              </a:path>
              <a:path w="13852525" h="11308715">
                <a:moveTo>
                  <a:pt x="4776796" y="2888456"/>
                </a:moveTo>
                <a:lnTo>
                  <a:pt x="4874343" y="3040856"/>
                </a:lnTo>
                <a:lnTo>
                  <a:pt x="5865810" y="3231356"/>
                </a:lnTo>
                <a:lnTo>
                  <a:pt x="5768264" y="3078956"/>
                </a:lnTo>
                <a:lnTo>
                  <a:pt x="4776796" y="2888456"/>
                </a:lnTo>
                <a:close/>
              </a:path>
              <a:path w="13852525" h="11308715">
                <a:moveTo>
                  <a:pt x="9962335" y="2609056"/>
                </a:moveTo>
                <a:lnTo>
                  <a:pt x="9633989" y="3193256"/>
                </a:lnTo>
                <a:lnTo>
                  <a:pt x="10271313" y="3193256"/>
                </a:lnTo>
                <a:lnTo>
                  <a:pt x="9962335" y="2609056"/>
                </a:lnTo>
                <a:close/>
              </a:path>
              <a:path w="13852525" h="11308715">
                <a:moveTo>
                  <a:pt x="7587884" y="2113756"/>
                </a:moveTo>
                <a:lnTo>
                  <a:pt x="7590805" y="2291556"/>
                </a:lnTo>
                <a:lnTo>
                  <a:pt x="8294784" y="2926556"/>
                </a:lnTo>
                <a:lnTo>
                  <a:pt x="8291862" y="2736056"/>
                </a:lnTo>
                <a:lnTo>
                  <a:pt x="7587884" y="2113756"/>
                </a:lnTo>
                <a:close/>
              </a:path>
              <a:path w="13852525" h="11308715">
                <a:moveTo>
                  <a:pt x="6159801" y="2304256"/>
                </a:moveTo>
                <a:lnTo>
                  <a:pt x="6210376" y="2482056"/>
                </a:lnTo>
                <a:lnTo>
                  <a:pt x="7083951" y="2913856"/>
                </a:lnTo>
                <a:lnTo>
                  <a:pt x="7033366" y="2736056"/>
                </a:lnTo>
                <a:lnTo>
                  <a:pt x="6159801" y="2304256"/>
                </a:lnTo>
                <a:close/>
              </a:path>
              <a:path w="13852525" h="11308715">
                <a:moveTo>
                  <a:pt x="3665658" y="2812256"/>
                </a:moveTo>
                <a:lnTo>
                  <a:pt x="2481055" y="2837656"/>
                </a:lnTo>
                <a:lnTo>
                  <a:pt x="2512981" y="2863056"/>
                </a:lnTo>
                <a:lnTo>
                  <a:pt x="3697615" y="2837656"/>
                </a:lnTo>
                <a:lnTo>
                  <a:pt x="3665658" y="2812256"/>
                </a:lnTo>
                <a:close/>
              </a:path>
              <a:path w="13852525" h="11308715">
                <a:moveTo>
                  <a:pt x="9002134" y="843756"/>
                </a:moveTo>
                <a:lnTo>
                  <a:pt x="8802779" y="1605756"/>
                </a:lnTo>
                <a:lnTo>
                  <a:pt x="9774309" y="2761456"/>
                </a:lnTo>
                <a:lnTo>
                  <a:pt x="9973675" y="2012156"/>
                </a:lnTo>
                <a:lnTo>
                  <a:pt x="9002134" y="843756"/>
                </a:lnTo>
                <a:close/>
              </a:path>
              <a:path w="13852525" h="11308715">
                <a:moveTo>
                  <a:pt x="4408755" y="2278856"/>
                </a:moveTo>
                <a:lnTo>
                  <a:pt x="4469235" y="2380456"/>
                </a:lnTo>
                <a:lnTo>
                  <a:pt x="5517318" y="2609056"/>
                </a:lnTo>
                <a:lnTo>
                  <a:pt x="5456849" y="2520156"/>
                </a:lnTo>
                <a:lnTo>
                  <a:pt x="4408755" y="2278856"/>
                </a:lnTo>
                <a:close/>
              </a:path>
              <a:path w="13852525" h="11308715">
                <a:moveTo>
                  <a:pt x="11220946" y="284956"/>
                </a:moveTo>
                <a:lnTo>
                  <a:pt x="10915740" y="843756"/>
                </a:lnTo>
                <a:lnTo>
                  <a:pt x="11503785" y="2316956"/>
                </a:lnTo>
                <a:lnTo>
                  <a:pt x="11808991" y="1770856"/>
                </a:lnTo>
                <a:lnTo>
                  <a:pt x="11220946" y="284956"/>
                </a:lnTo>
                <a:close/>
              </a:path>
              <a:path w="13852525" h="11308715">
                <a:moveTo>
                  <a:pt x="5968477" y="1643856"/>
                </a:moveTo>
                <a:lnTo>
                  <a:pt x="6000644" y="1745456"/>
                </a:lnTo>
                <a:lnTo>
                  <a:pt x="6915171" y="2240756"/>
                </a:lnTo>
                <a:lnTo>
                  <a:pt x="6883015" y="2126456"/>
                </a:lnTo>
                <a:lnTo>
                  <a:pt x="5968477" y="1643856"/>
                </a:lnTo>
                <a:close/>
              </a:path>
              <a:path w="13852525" h="11308715">
                <a:moveTo>
                  <a:pt x="7575968" y="1427956"/>
                </a:moveTo>
                <a:lnTo>
                  <a:pt x="7579298" y="1542256"/>
                </a:lnTo>
                <a:lnTo>
                  <a:pt x="8306699" y="2240756"/>
                </a:lnTo>
                <a:lnTo>
                  <a:pt x="8303370" y="2126456"/>
                </a:lnTo>
                <a:lnTo>
                  <a:pt x="7575968" y="1427956"/>
                </a:lnTo>
                <a:close/>
              </a:path>
              <a:path w="13852525" h="11308715">
                <a:moveTo>
                  <a:pt x="4040735" y="1669256"/>
                </a:moveTo>
                <a:lnTo>
                  <a:pt x="4064096" y="1707356"/>
                </a:lnTo>
                <a:lnTo>
                  <a:pt x="5168826" y="1986756"/>
                </a:lnTo>
                <a:lnTo>
                  <a:pt x="5145445" y="1961356"/>
                </a:lnTo>
                <a:lnTo>
                  <a:pt x="4040735" y="1669256"/>
                </a:lnTo>
                <a:close/>
              </a:path>
              <a:path w="13852525" h="11308715">
                <a:moveTo>
                  <a:pt x="5777164" y="970756"/>
                </a:moveTo>
                <a:lnTo>
                  <a:pt x="5790923" y="1008856"/>
                </a:lnTo>
                <a:lnTo>
                  <a:pt x="6746391" y="1554956"/>
                </a:lnTo>
                <a:lnTo>
                  <a:pt x="6732643" y="1529556"/>
                </a:lnTo>
                <a:lnTo>
                  <a:pt x="5777164" y="970756"/>
                </a:lnTo>
                <a:close/>
              </a:path>
              <a:path w="13852525" h="11308715">
                <a:moveTo>
                  <a:pt x="7564041" y="754856"/>
                </a:moveTo>
                <a:lnTo>
                  <a:pt x="7567790" y="792956"/>
                </a:lnTo>
                <a:lnTo>
                  <a:pt x="8318636" y="1554956"/>
                </a:lnTo>
                <a:lnTo>
                  <a:pt x="8314888" y="1516856"/>
                </a:lnTo>
                <a:lnTo>
                  <a:pt x="7564041" y="754856"/>
                </a:lnTo>
                <a:close/>
              </a:path>
              <a:path w="13852525" h="11308715">
                <a:moveTo>
                  <a:pt x="9684684" y="5556"/>
                </a:moveTo>
                <a:lnTo>
                  <a:pt x="9205378" y="5556"/>
                </a:lnTo>
                <a:lnTo>
                  <a:pt x="9166401" y="157956"/>
                </a:lnTo>
                <a:lnTo>
                  <a:pt x="10148214" y="1453356"/>
                </a:lnTo>
                <a:lnTo>
                  <a:pt x="10310167" y="831056"/>
                </a:lnTo>
                <a:lnTo>
                  <a:pt x="9684684" y="5556"/>
                </a:lnTo>
                <a:close/>
              </a:path>
              <a:path w="13852525" h="11308715">
                <a:moveTo>
                  <a:pt x="12155392" y="5556"/>
                </a:moveTo>
                <a:lnTo>
                  <a:pt x="11769899" y="5556"/>
                </a:lnTo>
                <a:lnTo>
                  <a:pt x="12176843" y="1173956"/>
                </a:lnTo>
                <a:lnTo>
                  <a:pt x="12413266" y="742156"/>
                </a:lnTo>
                <a:lnTo>
                  <a:pt x="12155392" y="5556"/>
                </a:lnTo>
                <a:close/>
              </a:path>
              <a:path w="13852525" h="11308715">
                <a:moveTo>
                  <a:pt x="10558529" y="5556"/>
                </a:moveTo>
                <a:lnTo>
                  <a:pt x="10424416" y="5556"/>
                </a:lnTo>
                <a:lnTo>
                  <a:pt x="10522108" y="145256"/>
                </a:lnTo>
                <a:lnTo>
                  <a:pt x="10558529" y="5556"/>
                </a:lnTo>
                <a:close/>
              </a:path>
            </a:pathLst>
          </a:custGeom>
          <a:solidFill>
            <a:srgbClr val="1A0F5C">
              <a:alpha val="5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46A9045-2D20-6939-4AEB-A54BC8FA9B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908" y="1714110"/>
            <a:ext cx="1840546" cy="61047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441E785-7F07-7914-8EA4-2BFB78DCD1CB}"/>
              </a:ext>
            </a:extLst>
          </p:cNvPr>
          <p:cNvSpPr txBox="1"/>
          <p:nvPr userDrawn="1"/>
        </p:nvSpPr>
        <p:spPr>
          <a:xfrm>
            <a:off x="383907" y="6356872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mangroup.com</a:t>
            </a:r>
            <a:endParaRPr lang="en-GB" sz="800" spc="55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EC2F3A03-9B79-4876-BA57-4805477562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3908" y="4082988"/>
            <a:ext cx="3519877" cy="3385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2"/>
                </a:solidFill>
              </a:defRPr>
            </a:lvl1pPr>
          </a:lstStyle>
          <a:p>
            <a:fld id="{331FB9B2-3DCE-4FED-BC56-27CAF34F8812}" type="datetime3">
              <a:rPr lang="en-US" smtClean="0"/>
              <a:t>23 September 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58412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gradFill>
          <a:gsLst>
            <a:gs pos="0">
              <a:schemeClr val="bg2"/>
            </a:gs>
            <a:gs pos="100000">
              <a:schemeClr val="accent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14E23-4D5A-C225-A302-6C9C57B22B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908" y="2643127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3" name="bg object 17">
            <a:extLst>
              <a:ext uri="{FF2B5EF4-FFF2-40B4-BE49-F238E27FC236}">
                <a16:creationId xmlns:a16="http://schemas.microsoft.com/office/drawing/2014/main" id="{5AE8EB3F-06DA-9660-72EB-9FC6330A4F34}"/>
              </a:ext>
            </a:extLst>
          </p:cNvPr>
          <p:cNvSpPr/>
          <p:nvPr userDrawn="1"/>
        </p:nvSpPr>
        <p:spPr>
          <a:xfrm>
            <a:off x="3791345" y="1"/>
            <a:ext cx="8400655" cy="6858000"/>
          </a:xfrm>
          <a:custGeom>
            <a:avLst/>
            <a:gdLst/>
            <a:ahLst/>
            <a:cxnLst/>
            <a:rect l="l" t="t" r="r" b="b"/>
            <a:pathLst>
              <a:path w="13852525" h="11308715">
                <a:moveTo>
                  <a:pt x="13663594" y="541274"/>
                </a:moveTo>
                <a:lnTo>
                  <a:pt x="13337552" y="886374"/>
                </a:lnTo>
                <a:lnTo>
                  <a:pt x="13458406" y="2559160"/>
                </a:lnTo>
                <a:lnTo>
                  <a:pt x="13784438" y="2214071"/>
                </a:lnTo>
                <a:lnTo>
                  <a:pt x="13663594" y="541274"/>
                </a:lnTo>
                <a:close/>
              </a:path>
              <a:path w="13852525" h="11308715">
                <a:moveTo>
                  <a:pt x="12862427" y="0"/>
                </a:moveTo>
                <a:lnTo>
                  <a:pt x="12842864" y="0"/>
                </a:lnTo>
                <a:lnTo>
                  <a:pt x="12849922" y="22955"/>
                </a:lnTo>
                <a:lnTo>
                  <a:pt x="12862427" y="0"/>
                </a:lnTo>
                <a:close/>
              </a:path>
              <a:path w="13852525" h="11308715">
                <a:moveTo>
                  <a:pt x="1356744" y="11181556"/>
                </a:moveTo>
                <a:lnTo>
                  <a:pt x="1317802" y="11206956"/>
                </a:lnTo>
                <a:lnTo>
                  <a:pt x="1288384" y="11308556"/>
                </a:lnTo>
                <a:lnTo>
                  <a:pt x="1318869" y="11308556"/>
                </a:lnTo>
                <a:lnTo>
                  <a:pt x="1356744" y="11181556"/>
                </a:lnTo>
                <a:close/>
              </a:path>
              <a:path w="13852525" h="11308715">
                <a:moveTo>
                  <a:pt x="2108543" y="10737056"/>
                </a:moveTo>
                <a:lnTo>
                  <a:pt x="1991771" y="10813256"/>
                </a:lnTo>
                <a:lnTo>
                  <a:pt x="1863059" y="11308556"/>
                </a:lnTo>
                <a:lnTo>
                  <a:pt x="1960085" y="11308556"/>
                </a:lnTo>
                <a:lnTo>
                  <a:pt x="2108543" y="10737056"/>
                </a:lnTo>
                <a:close/>
              </a:path>
              <a:path w="13852525" h="11308715">
                <a:moveTo>
                  <a:pt x="2860321" y="10292556"/>
                </a:moveTo>
                <a:lnTo>
                  <a:pt x="2665698" y="10419556"/>
                </a:lnTo>
                <a:lnTo>
                  <a:pt x="2464479" y="11308556"/>
                </a:lnTo>
                <a:lnTo>
                  <a:pt x="2631287" y="11308556"/>
                </a:lnTo>
                <a:lnTo>
                  <a:pt x="2860321" y="10292556"/>
                </a:lnTo>
                <a:close/>
              </a:path>
              <a:path w="13852525" h="11308715">
                <a:moveTo>
                  <a:pt x="4206856" y="10991056"/>
                </a:moveTo>
                <a:lnTo>
                  <a:pt x="3978528" y="11232356"/>
                </a:lnTo>
                <a:lnTo>
                  <a:pt x="3984302" y="11308556"/>
                </a:lnTo>
                <a:lnTo>
                  <a:pt x="4230674" y="11308556"/>
                </a:lnTo>
                <a:lnTo>
                  <a:pt x="4206856" y="10991056"/>
                </a:lnTo>
                <a:close/>
              </a:path>
              <a:path w="13852525" h="11308715">
                <a:moveTo>
                  <a:pt x="4844187" y="10356056"/>
                </a:moveTo>
                <a:lnTo>
                  <a:pt x="4550207" y="10660856"/>
                </a:lnTo>
                <a:lnTo>
                  <a:pt x="4626194" y="11308556"/>
                </a:lnTo>
                <a:lnTo>
                  <a:pt x="4956321" y="11308556"/>
                </a:lnTo>
                <a:lnTo>
                  <a:pt x="4844187" y="10356056"/>
                </a:lnTo>
                <a:close/>
              </a:path>
              <a:path w="13852525" h="11308715">
                <a:moveTo>
                  <a:pt x="5579023" y="11168856"/>
                </a:moveTo>
                <a:lnTo>
                  <a:pt x="5495758" y="11308556"/>
                </a:lnTo>
                <a:lnTo>
                  <a:pt x="5639011" y="11308556"/>
                </a:lnTo>
                <a:lnTo>
                  <a:pt x="5579023" y="11168856"/>
                </a:lnTo>
                <a:close/>
              </a:path>
              <a:path w="13852525" h="11308715">
                <a:moveTo>
                  <a:pt x="6049721" y="10356056"/>
                </a:moveTo>
                <a:lnTo>
                  <a:pt x="5788221" y="10825956"/>
                </a:lnTo>
                <a:lnTo>
                  <a:pt x="6010322" y="11308556"/>
                </a:lnTo>
                <a:lnTo>
                  <a:pt x="6481959" y="11308556"/>
                </a:lnTo>
                <a:lnTo>
                  <a:pt x="6049721" y="10356056"/>
                </a:lnTo>
                <a:close/>
              </a:path>
              <a:path w="13852525" h="11308715">
                <a:moveTo>
                  <a:pt x="6792159" y="10851356"/>
                </a:moveTo>
                <a:lnTo>
                  <a:pt x="6670546" y="11308556"/>
                </a:lnTo>
                <a:lnTo>
                  <a:pt x="7184035" y="11308556"/>
                </a:lnTo>
                <a:lnTo>
                  <a:pt x="6792159" y="10851356"/>
                </a:lnTo>
                <a:close/>
              </a:path>
              <a:path w="13852525" h="11308715">
                <a:moveTo>
                  <a:pt x="7666782" y="11130756"/>
                </a:moveTo>
                <a:lnTo>
                  <a:pt x="7667177" y="11308556"/>
                </a:lnTo>
                <a:lnTo>
                  <a:pt x="7938091" y="11308556"/>
                </a:lnTo>
                <a:lnTo>
                  <a:pt x="7666782" y="11130756"/>
                </a:lnTo>
                <a:close/>
              </a:path>
              <a:path w="13852525" h="11308715">
                <a:moveTo>
                  <a:pt x="9478281" y="10813256"/>
                </a:moveTo>
                <a:lnTo>
                  <a:pt x="7686195" y="10813256"/>
                </a:lnTo>
                <a:lnTo>
                  <a:pt x="8511158" y="11308556"/>
                </a:lnTo>
                <a:lnTo>
                  <a:pt x="8554593" y="11308556"/>
                </a:lnTo>
                <a:lnTo>
                  <a:pt x="8554315" y="10851356"/>
                </a:lnTo>
                <a:lnTo>
                  <a:pt x="9488564" y="10851356"/>
                </a:lnTo>
                <a:lnTo>
                  <a:pt x="9478281" y="10813256"/>
                </a:lnTo>
                <a:close/>
              </a:path>
              <a:path w="13852525" h="11308715">
                <a:moveTo>
                  <a:pt x="8619486" y="11168856"/>
                </a:moveTo>
                <a:lnTo>
                  <a:pt x="8658631" y="11308556"/>
                </a:lnTo>
                <a:lnTo>
                  <a:pt x="9042097" y="11308556"/>
                </a:lnTo>
                <a:lnTo>
                  <a:pt x="8619486" y="11168856"/>
                </a:lnTo>
                <a:close/>
              </a:path>
              <a:path w="13852525" h="11308715">
                <a:moveTo>
                  <a:pt x="9587425" y="10952956"/>
                </a:moveTo>
                <a:lnTo>
                  <a:pt x="9799117" y="11308556"/>
                </a:lnTo>
                <a:lnTo>
                  <a:pt x="10926641" y="11308556"/>
                </a:lnTo>
                <a:lnTo>
                  <a:pt x="10757923" y="11029156"/>
                </a:lnTo>
                <a:lnTo>
                  <a:pt x="9587425" y="10952956"/>
                </a:lnTo>
                <a:close/>
              </a:path>
              <a:path w="13852525" h="11308715">
                <a:moveTo>
                  <a:pt x="12527880" y="11029156"/>
                </a:moveTo>
                <a:lnTo>
                  <a:pt x="11234160" y="11219656"/>
                </a:lnTo>
                <a:lnTo>
                  <a:pt x="11329752" y="11308556"/>
                </a:lnTo>
                <a:lnTo>
                  <a:pt x="12829487" y="11308556"/>
                </a:lnTo>
                <a:lnTo>
                  <a:pt x="12527880" y="11029156"/>
                </a:lnTo>
                <a:close/>
              </a:path>
              <a:path w="13852525" h="11308715">
                <a:moveTo>
                  <a:pt x="7638137" y="10546556"/>
                </a:moveTo>
                <a:lnTo>
                  <a:pt x="6890020" y="10546556"/>
                </a:lnTo>
                <a:lnTo>
                  <a:pt x="6887821" y="10559256"/>
                </a:lnTo>
                <a:lnTo>
                  <a:pt x="7563947" y="11270456"/>
                </a:lnTo>
                <a:lnTo>
                  <a:pt x="7686195" y="10813256"/>
                </a:lnTo>
                <a:lnTo>
                  <a:pt x="9478281" y="10813256"/>
                </a:lnTo>
                <a:lnTo>
                  <a:pt x="9437147" y="10660856"/>
                </a:lnTo>
                <a:lnTo>
                  <a:pt x="10524376" y="10660856"/>
                </a:lnTo>
                <a:lnTo>
                  <a:pt x="10516980" y="10648156"/>
                </a:lnTo>
                <a:lnTo>
                  <a:pt x="8499343" y="10648156"/>
                </a:lnTo>
                <a:lnTo>
                  <a:pt x="8414694" y="10597356"/>
                </a:lnTo>
                <a:lnTo>
                  <a:pt x="7686069" y="10597356"/>
                </a:lnTo>
                <a:lnTo>
                  <a:pt x="7638137" y="10546556"/>
                </a:lnTo>
                <a:close/>
              </a:path>
              <a:path w="13852525" h="11308715">
                <a:moveTo>
                  <a:pt x="3612099" y="9848056"/>
                </a:moveTo>
                <a:lnTo>
                  <a:pt x="3339678" y="10013156"/>
                </a:lnTo>
                <a:lnTo>
                  <a:pt x="3128616" y="11143456"/>
                </a:lnTo>
                <a:lnTo>
                  <a:pt x="3401069" y="10978356"/>
                </a:lnTo>
                <a:lnTo>
                  <a:pt x="3612099" y="9848056"/>
                </a:lnTo>
                <a:close/>
              </a:path>
              <a:path w="13852525" h="11308715">
                <a:moveTo>
                  <a:pt x="9488564" y="10851356"/>
                </a:moveTo>
                <a:lnTo>
                  <a:pt x="8556681" y="10851356"/>
                </a:lnTo>
                <a:lnTo>
                  <a:pt x="9567405" y="11143456"/>
                </a:lnTo>
                <a:lnTo>
                  <a:pt x="9488564" y="10851356"/>
                </a:lnTo>
                <a:close/>
              </a:path>
              <a:path w="13852525" h="11308715">
                <a:moveTo>
                  <a:pt x="5481518" y="9708356"/>
                </a:moveTo>
                <a:lnTo>
                  <a:pt x="5121885" y="10089356"/>
                </a:lnTo>
                <a:lnTo>
                  <a:pt x="5288310" y="11092656"/>
                </a:lnTo>
                <a:lnTo>
                  <a:pt x="5647953" y="10711656"/>
                </a:lnTo>
                <a:lnTo>
                  <a:pt x="5481518" y="9708356"/>
                </a:lnTo>
                <a:close/>
              </a:path>
              <a:path w="13852525" h="11308715">
                <a:moveTo>
                  <a:pt x="13851902" y="10571956"/>
                </a:moveTo>
                <a:lnTo>
                  <a:pt x="13158437" y="10838656"/>
                </a:lnTo>
                <a:lnTo>
                  <a:pt x="13506593" y="11029156"/>
                </a:lnTo>
                <a:lnTo>
                  <a:pt x="13851902" y="10889456"/>
                </a:lnTo>
                <a:lnTo>
                  <a:pt x="13851902" y="10571956"/>
                </a:lnTo>
                <a:close/>
              </a:path>
              <a:path w="13852525" h="11308715">
                <a:moveTo>
                  <a:pt x="6806761" y="10102056"/>
                </a:moveTo>
                <a:lnTo>
                  <a:pt x="6214962" y="10102056"/>
                </a:lnTo>
                <a:lnTo>
                  <a:pt x="6210816" y="10114756"/>
                </a:lnTo>
                <a:lnTo>
                  <a:pt x="6660446" y="10965656"/>
                </a:lnTo>
                <a:lnTo>
                  <a:pt x="6890020" y="10546556"/>
                </a:lnTo>
                <a:lnTo>
                  <a:pt x="7638137" y="10546556"/>
                </a:lnTo>
                <a:lnTo>
                  <a:pt x="7458393" y="10356056"/>
                </a:lnTo>
                <a:lnTo>
                  <a:pt x="6941610" y="10356056"/>
                </a:lnTo>
                <a:lnTo>
                  <a:pt x="6806761" y="10102056"/>
                </a:lnTo>
                <a:close/>
              </a:path>
              <a:path w="13852525" h="11308715">
                <a:moveTo>
                  <a:pt x="11697937" y="10241756"/>
                </a:moveTo>
                <a:lnTo>
                  <a:pt x="10502769" y="10483056"/>
                </a:lnTo>
                <a:lnTo>
                  <a:pt x="10933949" y="10902156"/>
                </a:lnTo>
                <a:lnTo>
                  <a:pt x="12129107" y="10660856"/>
                </a:lnTo>
                <a:lnTo>
                  <a:pt x="11697937" y="10241756"/>
                </a:lnTo>
                <a:close/>
              </a:path>
              <a:path w="13852525" h="11308715">
                <a:moveTo>
                  <a:pt x="4363898" y="9390856"/>
                </a:moveTo>
                <a:lnTo>
                  <a:pt x="4013595" y="9619456"/>
                </a:lnTo>
                <a:lnTo>
                  <a:pt x="3860447" y="10673556"/>
                </a:lnTo>
                <a:lnTo>
                  <a:pt x="4210719" y="10457656"/>
                </a:lnTo>
                <a:lnTo>
                  <a:pt x="4363898" y="9390856"/>
                </a:lnTo>
                <a:close/>
              </a:path>
              <a:path w="13852525" h="11308715">
                <a:moveTo>
                  <a:pt x="10524376" y="10660856"/>
                </a:moveTo>
                <a:lnTo>
                  <a:pt x="9441827" y="10660856"/>
                </a:lnTo>
                <a:lnTo>
                  <a:pt x="10531773" y="10673556"/>
                </a:lnTo>
                <a:lnTo>
                  <a:pt x="10524376" y="10660856"/>
                </a:lnTo>
                <a:close/>
              </a:path>
              <a:path w="13852525" h="11308715">
                <a:moveTo>
                  <a:pt x="9253203" y="10025856"/>
                </a:moveTo>
                <a:lnTo>
                  <a:pt x="7875927" y="10025856"/>
                </a:lnTo>
                <a:lnTo>
                  <a:pt x="8408372" y="10305256"/>
                </a:lnTo>
                <a:lnTo>
                  <a:pt x="8499343" y="10648156"/>
                </a:lnTo>
                <a:lnTo>
                  <a:pt x="10516980" y="10648156"/>
                </a:lnTo>
                <a:lnTo>
                  <a:pt x="10413427" y="10470356"/>
                </a:lnTo>
                <a:lnTo>
                  <a:pt x="9327893" y="10470356"/>
                </a:lnTo>
                <a:lnTo>
                  <a:pt x="8539708" y="10241756"/>
                </a:lnTo>
                <a:lnTo>
                  <a:pt x="8539834" y="10038556"/>
                </a:lnTo>
                <a:lnTo>
                  <a:pt x="9256753" y="10038556"/>
                </a:lnTo>
                <a:lnTo>
                  <a:pt x="9253203" y="10025856"/>
                </a:lnTo>
                <a:close/>
              </a:path>
              <a:path w="13852525" h="11308715">
                <a:moveTo>
                  <a:pt x="9207049" y="9860756"/>
                </a:moveTo>
                <a:lnTo>
                  <a:pt x="7259580" y="9860756"/>
                </a:lnTo>
                <a:lnTo>
                  <a:pt x="7685860" y="10254456"/>
                </a:lnTo>
                <a:lnTo>
                  <a:pt x="7686069" y="10597356"/>
                </a:lnTo>
                <a:lnTo>
                  <a:pt x="8414694" y="10597356"/>
                </a:lnTo>
                <a:lnTo>
                  <a:pt x="7822149" y="10241756"/>
                </a:lnTo>
                <a:lnTo>
                  <a:pt x="7875927" y="10025856"/>
                </a:lnTo>
                <a:lnTo>
                  <a:pt x="9253203" y="10025856"/>
                </a:lnTo>
                <a:lnTo>
                  <a:pt x="9207049" y="9860756"/>
                </a:lnTo>
                <a:close/>
              </a:path>
              <a:path w="13852525" h="11308715">
                <a:moveTo>
                  <a:pt x="13475066" y="9759156"/>
                </a:moveTo>
                <a:lnTo>
                  <a:pt x="12227920" y="10305256"/>
                </a:lnTo>
                <a:lnTo>
                  <a:pt x="12673708" y="10546556"/>
                </a:lnTo>
                <a:lnTo>
                  <a:pt x="13851902" y="10025856"/>
                </a:lnTo>
                <a:lnTo>
                  <a:pt x="13851902" y="9962356"/>
                </a:lnTo>
                <a:lnTo>
                  <a:pt x="13475066" y="9759156"/>
                </a:lnTo>
                <a:close/>
              </a:path>
              <a:path w="13852525" h="11308715">
                <a:moveTo>
                  <a:pt x="918223" y="9301956"/>
                </a:moveTo>
                <a:lnTo>
                  <a:pt x="874706" y="9314656"/>
                </a:lnTo>
                <a:lnTo>
                  <a:pt x="182915" y="10495756"/>
                </a:lnTo>
                <a:lnTo>
                  <a:pt x="226443" y="10470356"/>
                </a:lnTo>
                <a:lnTo>
                  <a:pt x="918223" y="9301956"/>
                </a:lnTo>
                <a:close/>
              </a:path>
              <a:path w="13852525" h="11308715">
                <a:moveTo>
                  <a:pt x="9256753" y="10038556"/>
                </a:moveTo>
                <a:lnTo>
                  <a:pt x="8539834" y="10038556"/>
                </a:lnTo>
                <a:lnTo>
                  <a:pt x="9147072" y="10152856"/>
                </a:lnTo>
                <a:lnTo>
                  <a:pt x="9327893" y="10470356"/>
                </a:lnTo>
                <a:lnTo>
                  <a:pt x="10413427" y="10470356"/>
                </a:lnTo>
                <a:lnTo>
                  <a:pt x="10272891" y="10229056"/>
                </a:lnTo>
                <a:lnTo>
                  <a:pt x="10279707" y="10229056"/>
                </a:lnTo>
                <a:lnTo>
                  <a:pt x="10877850" y="10076656"/>
                </a:lnTo>
                <a:lnTo>
                  <a:pt x="10113807" y="10076656"/>
                </a:lnTo>
                <a:lnTo>
                  <a:pt x="9263854" y="10063956"/>
                </a:lnTo>
                <a:lnTo>
                  <a:pt x="9256753" y="10038556"/>
                </a:lnTo>
                <a:close/>
              </a:path>
              <a:path w="13852525" h="11308715">
                <a:moveTo>
                  <a:pt x="6217188" y="9505156"/>
                </a:moveTo>
                <a:lnTo>
                  <a:pt x="5699250" y="9505156"/>
                </a:lnTo>
                <a:lnTo>
                  <a:pt x="5693554" y="9517856"/>
                </a:lnTo>
                <a:lnTo>
                  <a:pt x="5899569" y="10432256"/>
                </a:lnTo>
                <a:lnTo>
                  <a:pt x="6214962" y="10102056"/>
                </a:lnTo>
                <a:lnTo>
                  <a:pt x="6806761" y="10102056"/>
                </a:lnTo>
                <a:lnTo>
                  <a:pt x="6712367" y="9924256"/>
                </a:lnTo>
                <a:lnTo>
                  <a:pt x="6311860" y="9924256"/>
                </a:lnTo>
                <a:lnTo>
                  <a:pt x="6217188" y="9505156"/>
                </a:lnTo>
                <a:close/>
              </a:path>
              <a:path w="13852525" h="11308715">
                <a:moveTo>
                  <a:pt x="9853036" y="9543256"/>
                </a:moveTo>
                <a:lnTo>
                  <a:pt x="6729292" y="9543256"/>
                </a:lnTo>
                <a:lnTo>
                  <a:pt x="7027000" y="10025856"/>
                </a:lnTo>
                <a:lnTo>
                  <a:pt x="6941610" y="10356056"/>
                </a:lnTo>
                <a:lnTo>
                  <a:pt x="7458393" y="10356056"/>
                </a:lnTo>
                <a:lnTo>
                  <a:pt x="7158818" y="10038556"/>
                </a:lnTo>
                <a:lnTo>
                  <a:pt x="7259580" y="9860756"/>
                </a:lnTo>
                <a:lnTo>
                  <a:pt x="9207049" y="9860756"/>
                </a:lnTo>
                <a:lnTo>
                  <a:pt x="9850537" y="9809956"/>
                </a:lnTo>
                <a:lnTo>
                  <a:pt x="11233329" y="9809956"/>
                </a:lnTo>
                <a:lnTo>
                  <a:pt x="11116350" y="9695656"/>
                </a:lnTo>
                <a:lnTo>
                  <a:pt x="9943571" y="9695656"/>
                </a:lnTo>
                <a:lnTo>
                  <a:pt x="9853036" y="9543256"/>
                </a:lnTo>
                <a:close/>
              </a:path>
              <a:path w="13852525" h="11308715">
                <a:moveTo>
                  <a:pt x="1727580" y="9060656"/>
                </a:moveTo>
                <a:lnTo>
                  <a:pt x="1599951" y="9111456"/>
                </a:lnTo>
                <a:lnTo>
                  <a:pt x="979394" y="10229056"/>
                </a:lnTo>
                <a:lnTo>
                  <a:pt x="1107013" y="10190956"/>
                </a:lnTo>
                <a:lnTo>
                  <a:pt x="1727580" y="9060656"/>
                </a:lnTo>
                <a:close/>
              </a:path>
              <a:path w="13852525" h="11308715">
                <a:moveTo>
                  <a:pt x="5115655" y="8946356"/>
                </a:moveTo>
                <a:lnTo>
                  <a:pt x="4687553" y="9213056"/>
                </a:lnTo>
                <a:lnTo>
                  <a:pt x="4592258" y="10203656"/>
                </a:lnTo>
                <a:lnTo>
                  <a:pt x="5020360" y="9936956"/>
                </a:lnTo>
                <a:lnTo>
                  <a:pt x="5115655" y="8946356"/>
                </a:lnTo>
                <a:close/>
              </a:path>
              <a:path w="13852525" h="11308715">
                <a:moveTo>
                  <a:pt x="11233329" y="9809956"/>
                </a:moveTo>
                <a:lnTo>
                  <a:pt x="9850537" y="9809956"/>
                </a:lnTo>
                <a:lnTo>
                  <a:pt x="10113807" y="10076656"/>
                </a:lnTo>
                <a:lnTo>
                  <a:pt x="10877850" y="10076656"/>
                </a:lnTo>
                <a:lnTo>
                  <a:pt x="11376302" y="9949656"/>
                </a:lnTo>
                <a:lnTo>
                  <a:pt x="11233329" y="9809956"/>
                </a:lnTo>
                <a:close/>
              </a:path>
              <a:path w="13852525" h="11308715">
                <a:moveTo>
                  <a:pt x="12433862" y="9213056"/>
                </a:moveTo>
                <a:lnTo>
                  <a:pt x="11297383" y="9771856"/>
                </a:lnTo>
                <a:lnTo>
                  <a:pt x="11840833" y="10063956"/>
                </a:lnTo>
                <a:lnTo>
                  <a:pt x="12977322" y="9505156"/>
                </a:lnTo>
                <a:lnTo>
                  <a:pt x="12433862" y="9213056"/>
                </a:lnTo>
                <a:close/>
              </a:path>
              <a:path w="13852525" h="11308715">
                <a:moveTo>
                  <a:pt x="2536927" y="8832056"/>
                </a:moveTo>
                <a:lnTo>
                  <a:pt x="2325217" y="8908256"/>
                </a:lnTo>
                <a:lnTo>
                  <a:pt x="1775893" y="9975056"/>
                </a:lnTo>
                <a:lnTo>
                  <a:pt x="1987583" y="9911556"/>
                </a:lnTo>
                <a:lnTo>
                  <a:pt x="2536927" y="8832056"/>
                </a:lnTo>
                <a:close/>
              </a:path>
              <a:path w="13852525" h="11308715">
                <a:moveTo>
                  <a:pt x="10489852" y="9111456"/>
                </a:moveTo>
                <a:lnTo>
                  <a:pt x="6315661" y="9111456"/>
                </a:lnTo>
                <a:lnTo>
                  <a:pt x="6472200" y="9644856"/>
                </a:lnTo>
                <a:lnTo>
                  <a:pt x="6311860" y="9924256"/>
                </a:lnTo>
                <a:lnTo>
                  <a:pt x="6712367" y="9924256"/>
                </a:lnTo>
                <a:lnTo>
                  <a:pt x="6591003" y="9695656"/>
                </a:lnTo>
                <a:lnTo>
                  <a:pt x="6729292" y="9543256"/>
                </a:lnTo>
                <a:lnTo>
                  <a:pt x="9853036" y="9543256"/>
                </a:lnTo>
                <a:lnTo>
                  <a:pt x="9830402" y="9505156"/>
                </a:lnTo>
                <a:lnTo>
                  <a:pt x="10466644" y="9289256"/>
                </a:lnTo>
                <a:lnTo>
                  <a:pt x="11532261" y="9289256"/>
                </a:lnTo>
                <a:lnTo>
                  <a:pt x="11783015" y="9149556"/>
                </a:lnTo>
                <a:lnTo>
                  <a:pt x="10527909" y="9149556"/>
                </a:lnTo>
                <a:lnTo>
                  <a:pt x="10489852" y="9111456"/>
                </a:lnTo>
                <a:close/>
              </a:path>
              <a:path w="13852525" h="11308715">
                <a:moveTo>
                  <a:pt x="5854782" y="8819356"/>
                </a:moveTo>
                <a:lnTo>
                  <a:pt x="5368265" y="8819356"/>
                </a:lnTo>
                <a:lnTo>
                  <a:pt x="5361413" y="8821283"/>
                </a:lnTo>
                <a:lnTo>
                  <a:pt x="5324057" y="9746456"/>
                </a:lnTo>
                <a:lnTo>
                  <a:pt x="5699250" y="9505156"/>
                </a:lnTo>
                <a:lnTo>
                  <a:pt x="6217188" y="9505156"/>
                </a:lnTo>
                <a:lnTo>
                  <a:pt x="6185631" y="9365456"/>
                </a:lnTo>
                <a:lnTo>
                  <a:pt x="5832366" y="9365456"/>
                </a:lnTo>
                <a:lnTo>
                  <a:pt x="5854782" y="8819356"/>
                </a:lnTo>
                <a:close/>
              </a:path>
              <a:path w="13852525" h="11308715">
                <a:moveTo>
                  <a:pt x="3346275" y="8603456"/>
                </a:moveTo>
                <a:lnTo>
                  <a:pt x="3050472" y="8692356"/>
                </a:lnTo>
                <a:lnTo>
                  <a:pt x="2572382" y="9721056"/>
                </a:lnTo>
                <a:lnTo>
                  <a:pt x="2868174" y="9619456"/>
                </a:lnTo>
                <a:lnTo>
                  <a:pt x="3346275" y="8603456"/>
                </a:lnTo>
                <a:close/>
              </a:path>
              <a:path w="13852525" h="11308715">
                <a:moveTo>
                  <a:pt x="11532261" y="9289256"/>
                </a:moveTo>
                <a:lnTo>
                  <a:pt x="10466644" y="9289256"/>
                </a:lnTo>
                <a:lnTo>
                  <a:pt x="10798718" y="9467056"/>
                </a:lnTo>
                <a:lnTo>
                  <a:pt x="9943571" y="9695656"/>
                </a:lnTo>
                <a:lnTo>
                  <a:pt x="11116350" y="9695656"/>
                </a:lnTo>
                <a:lnTo>
                  <a:pt x="10999371" y="9581356"/>
                </a:lnTo>
                <a:lnTo>
                  <a:pt x="11007958" y="9581356"/>
                </a:lnTo>
                <a:lnTo>
                  <a:pt x="11532261" y="9289256"/>
                </a:lnTo>
                <a:close/>
              </a:path>
              <a:path w="13852525" h="11308715">
                <a:moveTo>
                  <a:pt x="4155632" y="8374856"/>
                </a:moveTo>
                <a:lnTo>
                  <a:pt x="3775727" y="8489156"/>
                </a:lnTo>
                <a:lnTo>
                  <a:pt x="3368860" y="9454356"/>
                </a:lnTo>
                <a:lnTo>
                  <a:pt x="3748765" y="9340056"/>
                </a:lnTo>
                <a:lnTo>
                  <a:pt x="4155632" y="8374856"/>
                </a:lnTo>
                <a:close/>
              </a:path>
              <a:path w="13852525" h="11308715">
                <a:moveTo>
                  <a:pt x="11727822" y="8590756"/>
                </a:moveTo>
                <a:lnTo>
                  <a:pt x="6039638" y="8590756"/>
                </a:lnTo>
                <a:lnTo>
                  <a:pt x="6052663" y="9136856"/>
                </a:lnTo>
                <a:lnTo>
                  <a:pt x="5832366" y="9365456"/>
                </a:lnTo>
                <a:lnTo>
                  <a:pt x="6185631" y="9365456"/>
                </a:lnTo>
                <a:lnTo>
                  <a:pt x="6151205" y="9213056"/>
                </a:lnTo>
                <a:lnTo>
                  <a:pt x="6315661" y="9111456"/>
                </a:lnTo>
                <a:lnTo>
                  <a:pt x="10489852" y="9111456"/>
                </a:lnTo>
                <a:lnTo>
                  <a:pt x="10362993" y="8984456"/>
                </a:lnTo>
                <a:lnTo>
                  <a:pt x="10946389" y="8603456"/>
                </a:lnTo>
                <a:lnTo>
                  <a:pt x="11714521" y="8603456"/>
                </a:lnTo>
                <a:lnTo>
                  <a:pt x="11727822" y="8590756"/>
                </a:lnTo>
                <a:close/>
              </a:path>
              <a:path w="13852525" h="11308715">
                <a:moveTo>
                  <a:pt x="13851902" y="8451056"/>
                </a:moveTo>
                <a:lnTo>
                  <a:pt x="12983206" y="9124156"/>
                </a:lnTo>
                <a:lnTo>
                  <a:pt x="13494719" y="9251156"/>
                </a:lnTo>
                <a:lnTo>
                  <a:pt x="13851902" y="8959056"/>
                </a:lnTo>
                <a:lnTo>
                  <a:pt x="13851902" y="8451056"/>
                </a:lnTo>
                <a:close/>
              </a:path>
              <a:path w="13852525" h="11308715">
                <a:moveTo>
                  <a:pt x="4964979" y="8133556"/>
                </a:moveTo>
                <a:lnTo>
                  <a:pt x="4500993" y="8285956"/>
                </a:lnTo>
                <a:lnTo>
                  <a:pt x="4165328" y="9200356"/>
                </a:lnTo>
                <a:lnTo>
                  <a:pt x="4629345" y="9047956"/>
                </a:lnTo>
                <a:lnTo>
                  <a:pt x="4964979" y="8133556"/>
                </a:lnTo>
                <a:close/>
              </a:path>
              <a:path w="13852525" h="11308715">
                <a:moveTo>
                  <a:pt x="11714521" y="8603456"/>
                </a:moveTo>
                <a:lnTo>
                  <a:pt x="10946389" y="8603456"/>
                </a:lnTo>
                <a:lnTo>
                  <a:pt x="11327843" y="8692356"/>
                </a:lnTo>
                <a:lnTo>
                  <a:pt x="10527909" y="9149556"/>
                </a:lnTo>
                <a:lnTo>
                  <a:pt x="11783015" y="9149556"/>
                </a:lnTo>
                <a:lnTo>
                  <a:pt x="12033769" y="9009856"/>
                </a:lnTo>
                <a:lnTo>
                  <a:pt x="11558349" y="8743156"/>
                </a:lnTo>
                <a:lnTo>
                  <a:pt x="11568202" y="8743156"/>
                </a:lnTo>
                <a:lnTo>
                  <a:pt x="11714521" y="8603456"/>
                </a:lnTo>
                <a:close/>
              </a:path>
              <a:path w="13852525" h="11308715">
                <a:moveTo>
                  <a:pt x="12901020" y="7993856"/>
                </a:moveTo>
                <a:lnTo>
                  <a:pt x="11907469" y="8857456"/>
                </a:lnTo>
                <a:lnTo>
                  <a:pt x="12531471" y="8997156"/>
                </a:lnTo>
                <a:lnTo>
                  <a:pt x="13525022" y="8133556"/>
                </a:lnTo>
                <a:lnTo>
                  <a:pt x="12901020" y="7993856"/>
                </a:lnTo>
                <a:close/>
              </a:path>
              <a:path w="13852525" h="11308715">
                <a:moveTo>
                  <a:pt x="5725039" y="8070056"/>
                </a:moveTo>
                <a:lnTo>
                  <a:pt x="5233589" y="8070056"/>
                </a:lnTo>
                <a:lnTo>
                  <a:pt x="5226178" y="8070286"/>
                </a:lnTo>
                <a:lnTo>
                  <a:pt x="4961838" y="8933656"/>
                </a:lnTo>
                <a:lnTo>
                  <a:pt x="5361413" y="8821283"/>
                </a:lnTo>
                <a:lnTo>
                  <a:pt x="5361491" y="8819356"/>
                </a:lnTo>
                <a:lnTo>
                  <a:pt x="5854782" y="8819356"/>
                </a:lnTo>
                <a:lnTo>
                  <a:pt x="5858953" y="8717756"/>
                </a:lnTo>
                <a:lnTo>
                  <a:pt x="5526627" y="8717756"/>
                </a:lnTo>
                <a:lnTo>
                  <a:pt x="5725039" y="8070056"/>
                </a:lnTo>
                <a:close/>
              </a:path>
              <a:path w="13852525" h="11308715">
                <a:moveTo>
                  <a:pt x="5368265" y="8819356"/>
                </a:moveTo>
                <a:lnTo>
                  <a:pt x="5361491" y="8819356"/>
                </a:lnTo>
                <a:lnTo>
                  <a:pt x="5361413" y="8821283"/>
                </a:lnTo>
                <a:lnTo>
                  <a:pt x="5368265" y="8819356"/>
                </a:lnTo>
                <a:close/>
              </a:path>
              <a:path w="13852525" h="11308715">
                <a:moveTo>
                  <a:pt x="11034068" y="8031956"/>
                </a:moveTo>
                <a:lnTo>
                  <a:pt x="5911840" y="8031956"/>
                </a:lnTo>
                <a:lnTo>
                  <a:pt x="5788671" y="8552656"/>
                </a:lnTo>
                <a:lnTo>
                  <a:pt x="5526627" y="8717756"/>
                </a:lnTo>
                <a:lnTo>
                  <a:pt x="5858953" y="8717756"/>
                </a:lnTo>
                <a:lnTo>
                  <a:pt x="5861559" y="8654256"/>
                </a:lnTo>
                <a:lnTo>
                  <a:pt x="6039638" y="8590756"/>
                </a:lnTo>
                <a:lnTo>
                  <a:pt x="11727822" y="8590756"/>
                </a:lnTo>
                <a:lnTo>
                  <a:pt x="11887442" y="8438356"/>
                </a:lnTo>
                <a:lnTo>
                  <a:pt x="10969582" y="8438356"/>
                </a:lnTo>
                <a:lnTo>
                  <a:pt x="10761483" y="8324056"/>
                </a:lnTo>
                <a:lnTo>
                  <a:pt x="11034068" y="8031956"/>
                </a:lnTo>
                <a:close/>
              </a:path>
              <a:path w="13852525" h="11308715">
                <a:moveTo>
                  <a:pt x="11954577" y="7790656"/>
                </a:moveTo>
                <a:lnTo>
                  <a:pt x="11654158" y="7790656"/>
                </a:lnTo>
                <a:lnTo>
                  <a:pt x="10969582" y="8438356"/>
                </a:lnTo>
                <a:lnTo>
                  <a:pt x="11887442" y="8438356"/>
                </a:lnTo>
                <a:lnTo>
                  <a:pt x="12446113" y="7904956"/>
                </a:lnTo>
                <a:lnTo>
                  <a:pt x="11954577" y="7790656"/>
                </a:lnTo>
                <a:close/>
              </a:path>
              <a:path w="13852525" h="11308715">
                <a:moveTo>
                  <a:pt x="979970" y="7396956"/>
                </a:moveTo>
                <a:lnTo>
                  <a:pt x="935060" y="7409656"/>
                </a:lnTo>
                <a:lnTo>
                  <a:pt x="0" y="8349456"/>
                </a:lnTo>
                <a:lnTo>
                  <a:pt x="44899" y="8336756"/>
                </a:lnTo>
                <a:lnTo>
                  <a:pt x="979970" y="7396956"/>
                </a:lnTo>
                <a:close/>
              </a:path>
              <a:path w="13852525" h="11308715">
                <a:moveTo>
                  <a:pt x="1789442" y="7384256"/>
                </a:moveTo>
                <a:lnTo>
                  <a:pt x="1660137" y="7396956"/>
                </a:lnTo>
                <a:lnTo>
                  <a:pt x="804153" y="8298656"/>
                </a:lnTo>
                <a:lnTo>
                  <a:pt x="933427" y="8298656"/>
                </a:lnTo>
                <a:lnTo>
                  <a:pt x="1789442" y="7384256"/>
                </a:lnTo>
                <a:close/>
              </a:path>
              <a:path w="13852525" h="11308715">
                <a:moveTo>
                  <a:pt x="2598884" y="7371556"/>
                </a:moveTo>
                <a:lnTo>
                  <a:pt x="2385225" y="7384256"/>
                </a:lnTo>
                <a:lnTo>
                  <a:pt x="1608296" y="8260556"/>
                </a:lnTo>
                <a:lnTo>
                  <a:pt x="1821944" y="8247856"/>
                </a:lnTo>
                <a:lnTo>
                  <a:pt x="2598884" y="7371556"/>
                </a:lnTo>
                <a:close/>
              </a:path>
              <a:path w="13852525" h="11308715">
                <a:moveTo>
                  <a:pt x="3408325" y="7358856"/>
                </a:moveTo>
                <a:lnTo>
                  <a:pt x="3110324" y="7371556"/>
                </a:lnTo>
                <a:lnTo>
                  <a:pt x="2412450" y="8222456"/>
                </a:lnTo>
                <a:lnTo>
                  <a:pt x="2710472" y="8197056"/>
                </a:lnTo>
                <a:lnTo>
                  <a:pt x="3408325" y="7358856"/>
                </a:lnTo>
                <a:close/>
              </a:path>
              <a:path w="13852525" h="11308715">
                <a:moveTo>
                  <a:pt x="4217798" y="7346156"/>
                </a:moveTo>
                <a:lnTo>
                  <a:pt x="3835401" y="7358856"/>
                </a:lnTo>
                <a:lnTo>
                  <a:pt x="3216593" y="8171656"/>
                </a:lnTo>
                <a:lnTo>
                  <a:pt x="3598979" y="8158956"/>
                </a:lnTo>
                <a:lnTo>
                  <a:pt x="4217798" y="7346156"/>
                </a:lnTo>
                <a:close/>
              </a:path>
              <a:path w="13852525" h="11308715">
                <a:moveTo>
                  <a:pt x="5027260" y="7333456"/>
                </a:moveTo>
                <a:lnTo>
                  <a:pt x="4560478" y="7346156"/>
                </a:lnTo>
                <a:lnTo>
                  <a:pt x="4020736" y="8133556"/>
                </a:lnTo>
                <a:lnTo>
                  <a:pt x="4487507" y="8108156"/>
                </a:lnTo>
                <a:lnTo>
                  <a:pt x="5027260" y="7333456"/>
                </a:lnTo>
                <a:close/>
              </a:path>
              <a:path w="13852525" h="11308715">
                <a:moveTo>
                  <a:pt x="11539800" y="6863556"/>
                </a:moveTo>
                <a:lnTo>
                  <a:pt x="5944960" y="6863556"/>
                </a:lnTo>
                <a:lnTo>
                  <a:pt x="6091165" y="6939756"/>
                </a:lnTo>
                <a:lnTo>
                  <a:pt x="5750913" y="7320756"/>
                </a:lnTo>
                <a:lnTo>
                  <a:pt x="5465456" y="7333456"/>
                </a:lnTo>
                <a:lnTo>
                  <a:pt x="5285566" y="7333456"/>
                </a:lnTo>
                <a:lnTo>
                  <a:pt x="4824879" y="8082756"/>
                </a:lnTo>
                <a:lnTo>
                  <a:pt x="5226178" y="8070286"/>
                </a:lnTo>
                <a:lnTo>
                  <a:pt x="5226249" y="8070056"/>
                </a:lnTo>
                <a:lnTo>
                  <a:pt x="5725039" y="8070056"/>
                </a:lnTo>
                <a:lnTo>
                  <a:pt x="5732820" y="8044656"/>
                </a:lnTo>
                <a:lnTo>
                  <a:pt x="5911840" y="8031956"/>
                </a:lnTo>
                <a:lnTo>
                  <a:pt x="11034068" y="8031956"/>
                </a:lnTo>
                <a:lnTo>
                  <a:pt x="11045920" y="8019256"/>
                </a:lnTo>
                <a:lnTo>
                  <a:pt x="5405133" y="8019256"/>
                </a:lnTo>
                <a:lnTo>
                  <a:pt x="5764379" y="7435056"/>
                </a:lnTo>
                <a:lnTo>
                  <a:pt x="11064475" y="7435056"/>
                </a:lnTo>
                <a:lnTo>
                  <a:pt x="11337424" y="6927056"/>
                </a:lnTo>
                <a:lnTo>
                  <a:pt x="11539800" y="6863556"/>
                </a:lnTo>
                <a:close/>
              </a:path>
              <a:path w="13852525" h="11308715">
                <a:moveTo>
                  <a:pt x="5233589" y="8070056"/>
                </a:moveTo>
                <a:lnTo>
                  <a:pt x="5226249" y="8070056"/>
                </a:lnTo>
                <a:lnTo>
                  <a:pt x="5226178" y="8070286"/>
                </a:lnTo>
                <a:lnTo>
                  <a:pt x="5233589" y="8070056"/>
                </a:lnTo>
                <a:close/>
              </a:path>
              <a:path w="13852525" h="11308715">
                <a:moveTo>
                  <a:pt x="11064475" y="7435056"/>
                </a:moveTo>
                <a:lnTo>
                  <a:pt x="5764379" y="7435056"/>
                </a:lnTo>
                <a:lnTo>
                  <a:pt x="5932290" y="7473156"/>
                </a:lnTo>
                <a:lnTo>
                  <a:pt x="5689010" y="7930356"/>
                </a:lnTo>
                <a:lnTo>
                  <a:pt x="5405133" y="8019256"/>
                </a:lnTo>
                <a:lnTo>
                  <a:pt x="11045920" y="8019256"/>
                </a:lnTo>
                <a:lnTo>
                  <a:pt x="11247395" y="7803356"/>
                </a:lnTo>
                <a:lnTo>
                  <a:pt x="11654158" y="7790656"/>
                </a:lnTo>
                <a:lnTo>
                  <a:pt x="11954577" y="7790656"/>
                </a:lnTo>
                <a:lnTo>
                  <a:pt x="11899962" y="7777956"/>
                </a:lnTo>
                <a:lnTo>
                  <a:pt x="11910475" y="7777956"/>
                </a:lnTo>
                <a:lnTo>
                  <a:pt x="11996729" y="7638256"/>
                </a:lnTo>
                <a:lnTo>
                  <a:pt x="11228548" y="7638256"/>
                </a:lnTo>
                <a:lnTo>
                  <a:pt x="10989414" y="7574756"/>
                </a:lnTo>
                <a:lnTo>
                  <a:pt x="11064475" y="7435056"/>
                </a:lnTo>
                <a:close/>
              </a:path>
              <a:path w="13852525" h="11308715">
                <a:moveTo>
                  <a:pt x="13715058" y="6647656"/>
                </a:moveTo>
                <a:lnTo>
                  <a:pt x="13049916" y="6673056"/>
                </a:lnTo>
                <a:lnTo>
                  <a:pt x="12278526" y="7790656"/>
                </a:lnTo>
                <a:lnTo>
                  <a:pt x="12943658" y="7765256"/>
                </a:lnTo>
                <a:lnTo>
                  <a:pt x="13715058" y="6647656"/>
                </a:lnTo>
                <a:close/>
              </a:path>
              <a:path w="13852525" h="11308715">
                <a:moveTo>
                  <a:pt x="13851902" y="7219156"/>
                </a:moveTo>
                <a:lnTo>
                  <a:pt x="13431926" y="7765256"/>
                </a:lnTo>
                <a:lnTo>
                  <a:pt x="13851902" y="7752556"/>
                </a:lnTo>
                <a:lnTo>
                  <a:pt x="13851902" y="7219156"/>
                </a:lnTo>
                <a:close/>
              </a:path>
              <a:path w="13852525" h="11308715">
                <a:moveTo>
                  <a:pt x="12514256" y="6800056"/>
                </a:moveTo>
                <a:lnTo>
                  <a:pt x="11742176" y="6800056"/>
                </a:lnTo>
                <a:lnTo>
                  <a:pt x="11228548" y="7638256"/>
                </a:lnTo>
                <a:lnTo>
                  <a:pt x="11996729" y="7638256"/>
                </a:lnTo>
                <a:lnTo>
                  <a:pt x="12514256" y="6800056"/>
                </a:lnTo>
                <a:close/>
              </a:path>
              <a:path w="13852525" h="11308715">
                <a:moveTo>
                  <a:pt x="5518683" y="6653162"/>
                </a:moveTo>
                <a:lnTo>
                  <a:pt x="4909473" y="7244556"/>
                </a:lnTo>
                <a:lnTo>
                  <a:pt x="5292969" y="7333456"/>
                </a:lnTo>
                <a:lnTo>
                  <a:pt x="5465456" y="7333456"/>
                </a:lnTo>
                <a:lnTo>
                  <a:pt x="5944960" y="6863556"/>
                </a:lnTo>
                <a:lnTo>
                  <a:pt x="11539800" y="6863556"/>
                </a:lnTo>
                <a:lnTo>
                  <a:pt x="11742176" y="6800056"/>
                </a:lnTo>
                <a:lnTo>
                  <a:pt x="12514256" y="6800056"/>
                </a:lnTo>
                <a:lnTo>
                  <a:pt x="12529939" y="6774656"/>
                </a:lnTo>
                <a:lnTo>
                  <a:pt x="11020240" y="6774656"/>
                </a:lnTo>
                <a:lnTo>
                  <a:pt x="11026344" y="6749256"/>
                </a:lnTo>
                <a:lnTo>
                  <a:pt x="5960991" y="6749256"/>
                </a:lnTo>
                <a:lnTo>
                  <a:pt x="5693135" y="6685756"/>
                </a:lnTo>
                <a:lnTo>
                  <a:pt x="5737997" y="6660356"/>
                </a:lnTo>
                <a:lnTo>
                  <a:pt x="5531297" y="6660356"/>
                </a:lnTo>
                <a:lnTo>
                  <a:pt x="5518683" y="6653162"/>
                </a:lnTo>
                <a:close/>
              </a:path>
              <a:path w="13852525" h="11308715">
                <a:moveTo>
                  <a:pt x="4847957" y="6482556"/>
                </a:moveTo>
                <a:lnTo>
                  <a:pt x="4151925" y="7079456"/>
                </a:lnTo>
                <a:lnTo>
                  <a:pt x="4590069" y="7181056"/>
                </a:lnTo>
                <a:lnTo>
                  <a:pt x="5286111" y="6584156"/>
                </a:lnTo>
                <a:lnTo>
                  <a:pt x="4847957" y="6482556"/>
                </a:lnTo>
                <a:close/>
              </a:path>
              <a:path w="13852525" h="11308715">
                <a:moveTo>
                  <a:pt x="4171558" y="6304756"/>
                </a:moveTo>
                <a:lnTo>
                  <a:pt x="3394367" y="6914356"/>
                </a:lnTo>
                <a:lnTo>
                  <a:pt x="3753519" y="7003256"/>
                </a:lnTo>
                <a:lnTo>
                  <a:pt x="4530731" y="6393656"/>
                </a:lnTo>
                <a:lnTo>
                  <a:pt x="4171558" y="6304756"/>
                </a:lnTo>
                <a:close/>
              </a:path>
              <a:path w="13852525" h="11308715">
                <a:moveTo>
                  <a:pt x="3495139" y="6139656"/>
                </a:moveTo>
                <a:lnTo>
                  <a:pt x="2636809" y="6761956"/>
                </a:lnTo>
                <a:lnTo>
                  <a:pt x="2916968" y="6825456"/>
                </a:lnTo>
                <a:lnTo>
                  <a:pt x="3775330" y="6203156"/>
                </a:lnTo>
                <a:lnTo>
                  <a:pt x="3495139" y="6139656"/>
                </a:lnTo>
                <a:close/>
              </a:path>
              <a:path w="13852525" h="11308715">
                <a:moveTo>
                  <a:pt x="12278779" y="5809456"/>
                </a:moveTo>
                <a:lnTo>
                  <a:pt x="11571134" y="5809456"/>
                </a:lnTo>
                <a:lnTo>
                  <a:pt x="11275332" y="6774656"/>
                </a:lnTo>
                <a:lnTo>
                  <a:pt x="12529939" y="6774656"/>
                </a:lnTo>
                <a:lnTo>
                  <a:pt x="12561304" y="6723856"/>
                </a:lnTo>
                <a:lnTo>
                  <a:pt x="11986744" y="6723856"/>
                </a:lnTo>
                <a:lnTo>
                  <a:pt x="11997286" y="6723626"/>
                </a:lnTo>
                <a:lnTo>
                  <a:pt x="12278779" y="5809456"/>
                </a:lnTo>
                <a:close/>
              </a:path>
              <a:path w="13852525" h="11308715">
                <a:moveTo>
                  <a:pt x="11117907" y="6368256"/>
                </a:moveTo>
                <a:lnTo>
                  <a:pt x="6253903" y="6368256"/>
                </a:lnTo>
                <a:lnTo>
                  <a:pt x="6369868" y="6482556"/>
                </a:lnTo>
                <a:lnTo>
                  <a:pt x="5960991" y="6749256"/>
                </a:lnTo>
                <a:lnTo>
                  <a:pt x="11026344" y="6749256"/>
                </a:lnTo>
                <a:lnTo>
                  <a:pt x="11117907" y="6368256"/>
                </a:lnTo>
                <a:close/>
              </a:path>
              <a:path w="13852525" h="11308715">
                <a:moveTo>
                  <a:pt x="11997286" y="6723626"/>
                </a:moveTo>
                <a:lnTo>
                  <a:pt x="11986744" y="6723856"/>
                </a:lnTo>
                <a:lnTo>
                  <a:pt x="11997215" y="6723856"/>
                </a:lnTo>
                <a:lnTo>
                  <a:pt x="11997286" y="6723626"/>
                </a:lnTo>
                <a:close/>
              </a:path>
              <a:path w="13852525" h="11308715">
                <a:moveTo>
                  <a:pt x="12569146" y="6711156"/>
                </a:moveTo>
                <a:lnTo>
                  <a:pt x="11997286" y="6723626"/>
                </a:lnTo>
                <a:lnTo>
                  <a:pt x="11997215" y="6723856"/>
                </a:lnTo>
                <a:lnTo>
                  <a:pt x="12561304" y="6723856"/>
                </a:lnTo>
                <a:lnTo>
                  <a:pt x="12569146" y="6711156"/>
                </a:lnTo>
                <a:close/>
              </a:path>
              <a:path w="13852525" h="11308715">
                <a:moveTo>
                  <a:pt x="5524355" y="6647656"/>
                </a:moveTo>
                <a:lnTo>
                  <a:pt x="5518683" y="6653162"/>
                </a:lnTo>
                <a:lnTo>
                  <a:pt x="5531297" y="6660356"/>
                </a:lnTo>
                <a:lnTo>
                  <a:pt x="5524355" y="6647656"/>
                </a:lnTo>
                <a:close/>
              </a:path>
              <a:path w="13852525" h="11308715">
                <a:moveTo>
                  <a:pt x="5760427" y="6647656"/>
                </a:moveTo>
                <a:lnTo>
                  <a:pt x="5524355" y="6647656"/>
                </a:lnTo>
                <a:lnTo>
                  <a:pt x="5531297" y="6660356"/>
                </a:lnTo>
                <a:lnTo>
                  <a:pt x="5737997" y="6660356"/>
                </a:lnTo>
                <a:lnTo>
                  <a:pt x="5760427" y="6647656"/>
                </a:lnTo>
                <a:close/>
              </a:path>
              <a:path w="13852525" h="11308715">
                <a:moveTo>
                  <a:pt x="6424317" y="5606831"/>
                </a:moveTo>
                <a:lnTo>
                  <a:pt x="5657293" y="5809456"/>
                </a:lnTo>
                <a:lnTo>
                  <a:pt x="5922374" y="6063456"/>
                </a:lnTo>
                <a:lnTo>
                  <a:pt x="5916343" y="6063456"/>
                </a:lnTo>
                <a:lnTo>
                  <a:pt x="5197244" y="6469856"/>
                </a:lnTo>
                <a:lnTo>
                  <a:pt x="5518683" y="6653162"/>
                </a:lnTo>
                <a:lnTo>
                  <a:pt x="5524355" y="6647656"/>
                </a:lnTo>
                <a:lnTo>
                  <a:pt x="5760427" y="6647656"/>
                </a:lnTo>
                <a:lnTo>
                  <a:pt x="6253903" y="6368256"/>
                </a:lnTo>
                <a:lnTo>
                  <a:pt x="11117907" y="6368256"/>
                </a:lnTo>
                <a:lnTo>
                  <a:pt x="11142323" y="6266656"/>
                </a:lnTo>
                <a:lnTo>
                  <a:pt x="6296677" y="6266656"/>
                </a:lnTo>
                <a:lnTo>
                  <a:pt x="6063354" y="6139656"/>
                </a:lnTo>
                <a:lnTo>
                  <a:pt x="6663200" y="5987256"/>
                </a:lnTo>
                <a:lnTo>
                  <a:pt x="10839816" y="5987256"/>
                </a:lnTo>
                <a:lnTo>
                  <a:pt x="10837873" y="5898356"/>
                </a:lnTo>
                <a:lnTo>
                  <a:pt x="6728318" y="5898356"/>
                </a:lnTo>
                <a:lnTo>
                  <a:pt x="6543162" y="5720556"/>
                </a:lnTo>
                <a:lnTo>
                  <a:pt x="7526064" y="5720556"/>
                </a:lnTo>
                <a:lnTo>
                  <a:pt x="7221518" y="5657056"/>
                </a:lnTo>
                <a:lnTo>
                  <a:pt x="7199043" y="5618956"/>
                </a:lnTo>
                <a:lnTo>
                  <a:pt x="6431280" y="5618956"/>
                </a:lnTo>
                <a:lnTo>
                  <a:pt x="6424317" y="5606831"/>
                </a:lnTo>
                <a:close/>
              </a:path>
              <a:path w="13852525" h="11308715">
                <a:moveTo>
                  <a:pt x="2818762" y="5961856"/>
                </a:moveTo>
                <a:lnTo>
                  <a:pt x="1879251" y="6596856"/>
                </a:lnTo>
                <a:lnTo>
                  <a:pt x="2080439" y="6634956"/>
                </a:lnTo>
                <a:lnTo>
                  <a:pt x="3019960" y="5999956"/>
                </a:lnTo>
                <a:lnTo>
                  <a:pt x="2818762" y="5961856"/>
                </a:lnTo>
                <a:close/>
              </a:path>
              <a:path w="13852525" h="11308715">
                <a:moveTo>
                  <a:pt x="13512185" y="5123656"/>
                </a:moveTo>
                <a:lnTo>
                  <a:pt x="12850645" y="5326856"/>
                </a:lnTo>
                <a:lnTo>
                  <a:pt x="12369675" y="6634956"/>
                </a:lnTo>
                <a:lnTo>
                  <a:pt x="13031205" y="6431756"/>
                </a:lnTo>
                <a:lnTo>
                  <a:pt x="13512185" y="5123656"/>
                </a:lnTo>
                <a:close/>
              </a:path>
              <a:path w="13852525" h="11308715">
                <a:moveTo>
                  <a:pt x="2142343" y="5784056"/>
                </a:moveTo>
                <a:lnTo>
                  <a:pt x="1121683" y="6431756"/>
                </a:lnTo>
                <a:lnTo>
                  <a:pt x="1243888" y="6457156"/>
                </a:lnTo>
                <a:lnTo>
                  <a:pt x="2264569" y="5809456"/>
                </a:lnTo>
                <a:lnTo>
                  <a:pt x="2142343" y="5784056"/>
                </a:lnTo>
                <a:close/>
              </a:path>
              <a:path w="13852525" h="11308715">
                <a:moveTo>
                  <a:pt x="5331094" y="5733256"/>
                </a:moveTo>
                <a:lnTo>
                  <a:pt x="4534301" y="6126956"/>
                </a:lnTo>
                <a:lnTo>
                  <a:pt x="4916153" y="6330156"/>
                </a:lnTo>
                <a:lnTo>
                  <a:pt x="5712935" y="5936456"/>
                </a:lnTo>
                <a:lnTo>
                  <a:pt x="5331094" y="5733256"/>
                </a:lnTo>
                <a:close/>
              </a:path>
              <a:path w="13852525" h="11308715">
                <a:moveTo>
                  <a:pt x="13851902" y="5530056"/>
                </a:moveTo>
                <a:lnTo>
                  <a:pt x="13523546" y="6304756"/>
                </a:lnTo>
                <a:lnTo>
                  <a:pt x="13851902" y="6203156"/>
                </a:lnTo>
                <a:lnTo>
                  <a:pt x="13851902" y="5530056"/>
                </a:lnTo>
                <a:close/>
              </a:path>
              <a:path w="13852525" h="11308715">
                <a:moveTo>
                  <a:pt x="1509179" y="5618956"/>
                </a:moveTo>
                <a:lnTo>
                  <a:pt x="1465955" y="5618956"/>
                </a:lnTo>
                <a:lnTo>
                  <a:pt x="364135" y="6266656"/>
                </a:lnTo>
                <a:lnTo>
                  <a:pt x="407359" y="6266656"/>
                </a:lnTo>
                <a:lnTo>
                  <a:pt x="1509179" y="5618956"/>
                </a:lnTo>
                <a:close/>
              </a:path>
              <a:path w="13852525" h="11308715">
                <a:moveTo>
                  <a:pt x="11840169" y="4882356"/>
                </a:moveTo>
                <a:lnTo>
                  <a:pt x="11137440" y="4882356"/>
                </a:lnTo>
                <a:lnTo>
                  <a:pt x="11093704" y="5898356"/>
                </a:lnTo>
                <a:lnTo>
                  <a:pt x="10839816" y="5987256"/>
                </a:lnTo>
                <a:lnTo>
                  <a:pt x="6663200" y="5987256"/>
                </a:lnTo>
                <a:lnTo>
                  <a:pt x="6742904" y="6126956"/>
                </a:lnTo>
                <a:lnTo>
                  <a:pt x="6296677" y="6266656"/>
                </a:lnTo>
                <a:lnTo>
                  <a:pt x="11142323" y="6266656"/>
                </a:lnTo>
                <a:lnTo>
                  <a:pt x="11197261" y="6038056"/>
                </a:lnTo>
                <a:lnTo>
                  <a:pt x="11571134" y="5809456"/>
                </a:lnTo>
                <a:lnTo>
                  <a:pt x="12278779" y="5809456"/>
                </a:lnTo>
                <a:lnTo>
                  <a:pt x="12321796" y="5669756"/>
                </a:lnTo>
                <a:lnTo>
                  <a:pt x="11797054" y="5669756"/>
                </a:lnTo>
                <a:lnTo>
                  <a:pt x="11806857" y="5666748"/>
                </a:lnTo>
                <a:lnTo>
                  <a:pt x="11840169" y="4882356"/>
                </a:lnTo>
                <a:close/>
              </a:path>
              <a:path w="13852525" h="11308715">
                <a:moveTo>
                  <a:pt x="4745855" y="5390356"/>
                </a:moveTo>
                <a:lnTo>
                  <a:pt x="3871369" y="5784056"/>
                </a:lnTo>
                <a:lnTo>
                  <a:pt x="4184595" y="5949156"/>
                </a:lnTo>
                <a:lnTo>
                  <a:pt x="5059081" y="5568156"/>
                </a:lnTo>
                <a:lnTo>
                  <a:pt x="4745855" y="5390356"/>
                </a:lnTo>
                <a:close/>
              </a:path>
              <a:path w="13852525" h="11308715">
                <a:moveTo>
                  <a:pt x="7526064" y="5720556"/>
                </a:moveTo>
                <a:lnTo>
                  <a:pt x="7139688" y="5720556"/>
                </a:lnTo>
                <a:lnTo>
                  <a:pt x="7179875" y="5872956"/>
                </a:lnTo>
                <a:lnTo>
                  <a:pt x="6728318" y="5898356"/>
                </a:lnTo>
                <a:lnTo>
                  <a:pt x="10837873" y="5898356"/>
                </a:lnTo>
                <a:lnTo>
                  <a:pt x="10834542" y="5745956"/>
                </a:lnTo>
                <a:lnTo>
                  <a:pt x="7647882" y="5745956"/>
                </a:lnTo>
                <a:lnTo>
                  <a:pt x="7526064" y="5720556"/>
                </a:lnTo>
                <a:close/>
              </a:path>
              <a:path w="13852525" h="11308715">
                <a:moveTo>
                  <a:pt x="7709259" y="5441156"/>
                </a:moveTo>
                <a:lnTo>
                  <a:pt x="7094160" y="5441156"/>
                </a:lnTo>
                <a:lnTo>
                  <a:pt x="7647651" y="5593556"/>
                </a:lnTo>
                <a:lnTo>
                  <a:pt x="7647882" y="5745956"/>
                </a:lnTo>
                <a:lnTo>
                  <a:pt x="10834542" y="5745956"/>
                </a:lnTo>
                <a:lnTo>
                  <a:pt x="10831212" y="5593556"/>
                </a:lnTo>
                <a:lnTo>
                  <a:pt x="7807228" y="5593556"/>
                </a:lnTo>
                <a:lnTo>
                  <a:pt x="7739743" y="5555456"/>
                </a:lnTo>
                <a:lnTo>
                  <a:pt x="7709259" y="5441156"/>
                </a:lnTo>
                <a:close/>
              </a:path>
              <a:path w="13852525" h="11308715">
                <a:moveTo>
                  <a:pt x="11806857" y="5666748"/>
                </a:moveTo>
                <a:lnTo>
                  <a:pt x="11797054" y="5669756"/>
                </a:lnTo>
                <a:lnTo>
                  <a:pt x="11806729" y="5669756"/>
                </a:lnTo>
                <a:lnTo>
                  <a:pt x="11806857" y="5666748"/>
                </a:lnTo>
                <a:close/>
              </a:path>
              <a:path w="13852525" h="11308715">
                <a:moveTo>
                  <a:pt x="12376544" y="5491956"/>
                </a:moveTo>
                <a:lnTo>
                  <a:pt x="11806857" y="5666748"/>
                </a:lnTo>
                <a:lnTo>
                  <a:pt x="11806729" y="5669756"/>
                </a:lnTo>
                <a:lnTo>
                  <a:pt x="12321796" y="5669756"/>
                </a:lnTo>
                <a:lnTo>
                  <a:pt x="12376544" y="5491956"/>
                </a:lnTo>
                <a:close/>
              </a:path>
              <a:path w="13852525" h="11308715">
                <a:moveTo>
                  <a:pt x="6426495" y="5606256"/>
                </a:moveTo>
                <a:lnTo>
                  <a:pt x="6424317" y="5606831"/>
                </a:lnTo>
                <a:lnTo>
                  <a:pt x="6431280" y="5618956"/>
                </a:lnTo>
                <a:lnTo>
                  <a:pt x="6426495" y="5606256"/>
                </a:lnTo>
                <a:close/>
              </a:path>
              <a:path w="13852525" h="11308715">
                <a:moveTo>
                  <a:pt x="7191551" y="5606256"/>
                </a:moveTo>
                <a:lnTo>
                  <a:pt x="6426495" y="5606256"/>
                </a:lnTo>
                <a:lnTo>
                  <a:pt x="6431280" y="5618956"/>
                </a:lnTo>
                <a:lnTo>
                  <a:pt x="7199043" y="5618956"/>
                </a:lnTo>
                <a:lnTo>
                  <a:pt x="7191551" y="5606256"/>
                </a:lnTo>
                <a:close/>
              </a:path>
              <a:path w="13852525" h="11308715">
                <a:moveTo>
                  <a:pt x="7013797" y="5301456"/>
                </a:moveTo>
                <a:lnTo>
                  <a:pt x="6248940" y="5301456"/>
                </a:lnTo>
                <a:lnTo>
                  <a:pt x="6424317" y="5606831"/>
                </a:lnTo>
                <a:lnTo>
                  <a:pt x="6426495" y="5606256"/>
                </a:lnTo>
                <a:lnTo>
                  <a:pt x="7191551" y="5606256"/>
                </a:lnTo>
                <a:lnTo>
                  <a:pt x="7094160" y="5441156"/>
                </a:lnTo>
                <a:lnTo>
                  <a:pt x="7709259" y="5441156"/>
                </a:lnTo>
                <a:lnTo>
                  <a:pt x="7675389" y="5314156"/>
                </a:lnTo>
                <a:lnTo>
                  <a:pt x="7017210" y="5314156"/>
                </a:lnTo>
                <a:lnTo>
                  <a:pt x="7013797" y="5301456"/>
                </a:lnTo>
                <a:close/>
              </a:path>
              <a:path w="13852525" h="11308715">
                <a:moveTo>
                  <a:pt x="5966362" y="5149056"/>
                </a:moveTo>
                <a:lnTo>
                  <a:pt x="5127917" y="5314156"/>
                </a:lnTo>
                <a:lnTo>
                  <a:pt x="5431122" y="5606256"/>
                </a:lnTo>
                <a:lnTo>
                  <a:pt x="6269568" y="5441156"/>
                </a:lnTo>
                <a:lnTo>
                  <a:pt x="5966362" y="5149056"/>
                </a:lnTo>
                <a:close/>
              </a:path>
              <a:path w="13852525" h="11308715">
                <a:moveTo>
                  <a:pt x="10824828" y="5301456"/>
                </a:moveTo>
                <a:lnTo>
                  <a:pt x="7013912" y="5301456"/>
                </a:lnTo>
                <a:lnTo>
                  <a:pt x="7017210" y="5314156"/>
                </a:lnTo>
                <a:lnTo>
                  <a:pt x="7675389" y="5314156"/>
                </a:lnTo>
                <a:lnTo>
                  <a:pt x="7851561" y="5428456"/>
                </a:lnTo>
                <a:lnTo>
                  <a:pt x="7807228" y="5593556"/>
                </a:lnTo>
                <a:lnTo>
                  <a:pt x="10831212" y="5593556"/>
                </a:lnTo>
                <a:lnTo>
                  <a:pt x="10824828" y="5301456"/>
                </a:lnTo>
                <a:close/>
              </a:path>
              <a:path w="13852525" h="11308715">
                <a:moveTo>
                  <a:pt x="4160606" y="5060156"/>
                </a:moveTo>
                <a:lnTo>
                  <a:pt x="3208425" y="5428456"/>
                </a:lnTo>
                <a:lnTo>
                  <a:pt x="3453025" y="5568156"/>
                </a:lnTo>
                <a:lnTo>
                  <a:pt x="4405227" y="5187156"/>
                </a:lnTo>
                <a:lnTo>
                  <a:pt x="4160606" y="5060156"/>
                </a:lnTo>
                <a:close/>
              </a:path>
              <a:path w="13852525" h="11308715">
                <a:moveTo>
                  <a:pt x="12906926" y="3688556"/>
                </a:moveTo>
                <a:lnTo>
                  <a:pt x="12296149" y="4056856"/>
                </a:lnTo>
                <a:lnTo>
                  <a:pt x="12157399" y="5479256"/>
                </a:lnTo>
                <a:lnTo>
                  <a:pt x="12768176" y="5098256"/>
                </a:lnTo>
                <a:lnTo>
                  <a:pt x="12906926" y="3688556"/>
                </a:lnTo>
                <a:close/>
              </a:path>
              <a:path w="13852525" h="11308715">
                <a:moveTo>
                  <a:pt x="6925066" y="4971256"/>
                </a:moveTo>
                <a:lnTo>
                  <a:pt x="7017210" y="5314156"/>
                </a:lnTo>
                <a:lnTo>
                  <a:pt x="7013912" y="5301456"/>
                </a:lnTo>
                <a:lnTo>
                  <a:pt x="10824828" y="5301456"/>
                </a:lnTo>
                <a:lnTo>
                  <a:pt x="10823717" y="5250656"/>
                </a:lnTo>
                <a:lnTo>
                  <a:pt x="10448079" y="5250656"/>
                </a:lnTo>
                <a:lnTo>
                  <a:pt x="10425930" y="5174456"/>
                </a:lnTo>
                <a:lnTo>
                  <a:pt x="7634846" y="5174456"/>
                </a:lnTo>
                <a:lnTo>
                  <a:pt x="6925066" y="4971256"/>
                </a:lnTo>
                <a:close/>
              </a:path>
              <a:path w="13852525" h="11308715">
                <a:moveTo>
                  <a:pt x="11205803" y="4082256"/>
                </a:moveTo>
                <a:lnTo>
                  <a:pt x="10455922" y="4082256"/>
                </a:lnTo>
                <a:lnTo>
                  <a:pt x="10682669" y="5098256"/>
                </a:lnTo>
                <a:lnTo>
                  <a:pt x="10448079" y="5250656"/>
                </a:lnTo>
                <a:lnTo>
                  <a:pt x="10823717" y="5250656"/>
                </a:lnTo>
                <a:lnTo>
                  <a:pt x="10822885" y="5212556"/>
                </a:lnTo>
                <a:lnTo>
                  <a:pt x="11137440" y="4882356"/>
                </a:lnTo>
                <a:lnTo>
                  <a:pt x="11840169" y="4882356"/>
                </a:lnTo>
                <a:lnTo>
                  <a:pt x="11848798" y="4679156"/>
                </a:lnTo>
                <a:lnTo>
                  <a:pt x="11327529" y="4679156"/>
                </a:lnTo>
                <a:lnTo>
                  <a:pt x="11335665" y="4666456"/>
                </a:lnTo>
                <a:lnTo>
                  <a:pt x="11205803" y="4082256"/>
                </a:lnTo>
                <a:close/>
              </a:path>
              <a:path w="13852525" h="11308715">
                <a:moveTo>
                  <a:pt x="3575367" y="4729956"/>
                </a:moveTo>
                <a:lnTo>
                  <a:pt x="2545503" y="5085556"/>
                </a:lnTo>
                <a:lnTo>
                  <a:pt x="2721508" y="5174456"/>
                </a:lnTo>
                <a:lnTo>
                  <a:pt x="3751372" y="4818856"/>
                </a:lnTo>
                <a:lnTo>
                  <a:pt x="3575367" y="4729956"/>
                </a:lnTo>
                <a:close/>
              </a:path>
              <a:path w="13852525" h="11308715">
                <a:moveTo>
                  <a:pt x="7635599" y="4831556"/>
                </a:moveTo>
                <a:lnTo>
                  <a:pt x="7636510" y="5174456"/>
                </a:lnTo>
                <a:lnTo>
                  <a:pt x="10425930" y="5174456"/>
                </a:lnTo>
                <a:lnTo>
                  <a:pt x="10381632" y="5022056"/>
                </a:lnTo>
                <a:lnTo>
                  <a:pt x="7958396" y="5022056"/>
                </a:lnTo>
                <a:lnTo>
                  <a:pt x="7635599" y="4831556"/>
                </a:lnTo>
                <a:close/>
              </a:path>
              <a:path w="13852525" h="11308715">
                <a:moveTo>
                  <a:pt x="5880899" y="4704556"/>
                </a:moveTo>
                <a:lnTo>
                  <a:pt x="6089699" y="5047456"/>
                </a:lnTo>
                <a:lnTo>
                  <a:pt x="6911307" y="5098256"/>
                </a:lnTo>
                <a:lnTo>
                  <a:pt x="6702487" y="4742656"/>
                </a:lnTo>
                <a:lnTo>
                  <a:pt x="5880899" y="4704556"/>
                </a:lnTo>
                <a:close/>
              </a:path>
              <a:path w="13852525" h="11308715">
                <a:moveTo>
                  <a:pt x="5506209" y="4679156"/>
                </a:moveTo>
                <a:lnTo>
                  <a:pt x="4598540" y="4818856"/>
                </a:lnTo>
                <a:lnTo>
                  <a:pt x="4847496" y="5060156"/>
                </a:lnTo>
                <a:lnTo>
                  <a:pt x="5755175" y="4920456"/>
                </a:lnTo>
                <a:lnTo>
                  <a:pt x="5506209" y="4679156"/>
                </a:lnTo>
                <a:close/>
              </a:path>
              <a:path w="13852525" h="11308715">
                <a:moveTo>
                  <a:pt x="7623663" y="4145756"/>
                </a:moveTo>
                <a:lnTo>
                  <a:pt x="7625328" y="4539456"/>
                </a:lnTo>
                <a:lnTo>
                  <a:pt x="8015075" y="4806156"/>
                </a:lnTo>
                <a:lnTo>
                  <a:pt x="7958396" y="5022056"/>
                </a:lnTo>
                <a:lnTo>
                  <a:pt x="10381632" y="5022056"/>
                </a:lnTo>
                <a:lnTo>
                  <a:pt x="10267195" y="4628356"/>
                </a:lnTo>
                <a:lnTo>
                  <a:pt x="9859992" y="4628356"/>
                </a:lnTo>
                <a:lnTo>
                  <a:pt x="9760072" y="4463256"/>
                </a:lnTo>
                <a:lnTo>
                  <a:pt x="8084937" y="4463256"/>
                </a:lnTo>
                <a:lnTo>
                  <a:pt x="7623663" y="4145756"/>
                </a:lnTo>
                <a:close/>
              </a:path>
              <a:path w="13852525" h="11308715">
                <a:moveTo>
                  <a:pt x="6733763" y="4310856"/>
                </a:moveTo>
                <a:lnTo>
                  <a:pt x="6839582" y="4691856"/>
                </a:lnTo>
                <a:lnTo>
                  <a:pt x="7590302" y="4945856"/>
                </a:lnTo>
                <a:lnTo>
                  <a:pt x="7484484" y="4564856"/>
                </a:lnTo>
                <a:lnTo>
                  <a:pt x="6733763" y="4310856"/>
                </a:lnTo>
                <a:close/>
              </a:path>
              <a:path w="13852525" h="11308715">
                <a:moveTo>
                  <a:pt x="13851902" y="3078956"/>
                </a:moveTo>
                <a:lnTo>
                  <a:pt x="13451318" y="3332956"/>
                </a:lnTo>
                <a:lnTo>
                  <a:pt x="13229900" y="4844256"/>
                </a:lnTo>
                <a:lnTo>
                  <a:pt x="13729634" y="4526756"/>
                </a:lnTo>
                <a:lnTo>
                  <a:pt x="13851902" y="3688556"/>
                </a:lnTo>
                <a:lnTo>
                  <a:pt x="13851902" y="3078956"/>
                </a:lnTo>
                <a:close/>
              </a:path>
              <a:path w="13852525" h="11308715">
                <a:moveTo>
                  <a:pt x="2990128" y="4387056"/>
                </a:moveTo>
                <a:lnTo>
                  <a:pt x="1882560" y="4742656"/>
                </a:lnTo>
                <a:lnTo>
                  <a:pt x="1989928" y="4793456"/>
                </a:lnTo>
                <a:lnTo>
                  <a:pt x="3097518" y="4437856"/>
                </a:lnTo>
                <a:lnTo>
                  <a:pt x="2990128" y="4387056"/>
                </a:lnTo>
                <a:close/>
              </a:path>
              <a:path w="13852525" h="11308715">
                <a:moveTo>
                  <a:pt x="11862822" y="4348956"/>
                </a:moveTo>
                <a:lnTo>
                  <a:pt x="11327529" y="4679156"/>
                </a:lnTo>
                <a:lnTo>
                  <a:pt x="11848798" y="4679156"/>
                </a:lnTo>
                <a:lnTo>
                  <a:pt x="11862822" y="4348956"/>
                </a:lnTo>
                <a:close/>
              </a:path>
              <a:path w="13852525" h="11308715">
                <a:moveTo>
                  <a:pt x="10419085" y="3472656"/>
                </a:moveTo>
                <a:lnTo>
                  <a:pt x="9559876" y="3472656"/>
                </a:lnTo>
                <a:lnTo>
                  <a:pt x="10057473" y="4412456"/>
                </a:lnTo>
                <a:lnTo>
                  <a:pt x="9859992" y="4628356"/>
                </a:lnTo>
                <a:lnTo>
                  <a:pt x="10267195" y="4628356"/>
                </a:lnTo>
                <a:lnTo>
                  <a:pt x="10226589" y="4488656"/>
                </a:lnTo>
                <a:lnTo>
                  <a:pt x="10455922" y="4082256"/>
                </a:lnTo>
                <a:lnTo>
                  <a:pt x="11205803" y="4082256"/>
                </a:lnTo>
                <a:lnTo>
                  <a:pt x="11149342" y="3828256"/>
                </a:lnTo>
                <a:lnTo>
                  <a:pt x="10594494" y="3828256"/>
                </a:lnTo>
                <a:lnTo>
                  <a:pt x="10600441" y="3815556"/>
                </a:lnTo>
                <a:lnTo>
                  <a:pt x="10419085" y="3472656"/>
                </a:lnTo>
                <a:close/>
              </a:path>
              <a:path w="13852525" h="11308715">
                <a:moveTo>
                  <a:pt x="5046076" y="4209256"/>
                </a:moveTo>
                <a:lnTo>
                  <a:pt x="4069174" y="4323556"/>
                </a:lnTo>
                <a:lnTo>
                  <a:pt x="4263849" y="4501356"/>
                </a:lnTo>
                <a:lnTo>
                  <a:pt x="5240793" y="4399756"/>
                </a:lnTo>
                <a:lnTo>
                  <a:pt x="5046076" y="4209256"/>
                </a:lnTo>
                <a:close/>
              </a:path>
              <a:path w="13852525" h="11308715">
                <a:moveTo>
                  <a:pt x="5512868" y="4094956"/>
                </a:moveTo>
                <a:lnTo>
                  <a:pt x="5684591" y="4387056"/>
                </a:lnTo>
                <a:lnTo>
                  <a:pt x="6562805" y="4475956"/>
                </a:lnTo>
                <a:lnTo>
                  <a:pt x="6391082" y="4196556"/>
                </a:lnTo>
                <a:lnTo>
                  <a:pt x="5512868" y="4094956"/>
                </a:lnTo>
                <a:close/>
              </a:path>
              <a:path w="13852525" h="11308715">
                <a:moveTo>
                  <a:pt x="7611736" y="3472656"/>
                </a:moveTo>
                <a:lnTo>
                  <a:pt x="7613820" y="3790156"/>
                </a:lnTo>
                <a:lnTo>
                  <a:pt x="8154243" y="4209256"/>
                </a:lnTo>
                <a:lnTo>
                  <a:pt x="8084937" y="4463256"/>
                </a:lnTo>
                <a:lnTo>
                  <a:pt x="9760072" y="4463256"/>
                </a:lnTo>
                <a:lnTo>
                  <a:pt x="9583289" y="4171156"/>
                </a:lnTo>
                <a:lnTo>
                  <a:pt x="9105377" y="4171156"/>
                </a:lnTo>
                <a:lnTo>
                  <a:pt x="8844315" y="3929856"/>
                </a:lnTo>
                <a:lnTo>
                  <a:pt x="8225341" y="3929856"/>
                </a:lnTo>
                <a:lnTo>
                  <a:pt x="7611736" y="3472656"/>
                </a:lnTo>
                <a:close/>
              </a:path>
              <a:path w="13852525" h="11308715">
                <a:moveTo>
                  <a:pt x="2404879" y="4056856"/>
                </a:moveTo>
                <a:lnTo>
                  <a:pt x="1219606" y="4387056"/>
                </a:lnTo>
                <a:lnTo>
                  <a:pt x="1258380" y="4412456"/>
                </a:lnTo>
                <a:lnTo>
                  <a:pt x="2443632" y="4069556"/>
                </a:lnTo>
                <a:lnTo>
                  <a:pt x="2404879" y="4056856"/>
                </a:lnTo>
                <a:close/>
              </a:path>
              <a:path w="13852525" h="11308715">
                <a:moveTo>
                  <a:pt x="11917783" y="2418556"/>
                </a:moveTo>
                <a:lnTo>
                  <a:pt x="11404218" y="2964656"/>
                </a:lnTo>
                <a:lnTo>
                  <a:pt x="11638347" y="4387056"/>
                </a:lnTo>
                <a:lnTo>
                  <a:pt x="12151912" y="3853656"/>
                </a:lnTo>
                <a:lnTo>
                  <a:pt x="11917783" y="2418556"/>
                </a:lnTo>
                <a:close/>
              </a:path>
              <a:path w="13852525" h="11308715">
                <a:moveTo>
                  <a:pt x="6542429" y="3637756"/>
                </a:moveTo>
                <a:lnTo>
                  <a:pt x="6629840" y="3955256"/>
                </a:lnTo>
                <a:lnTo>
                  <a:pt x="7421512" y="4272756"/>
                </a:lnTo>
                <a:lnTo>
                  <a:pt x="7334111" y="3955256"/>
                </a:lnTo>
                <a:lnTo>
                  <a:pt x="6542429" y="3637756"/>
                </a:lnTo>
                <a:close/>
              </a:path>
              <a:path w="13852525" h="11308715">
                <a:moveTo>
                  <a:pt x="8675913" y="2151856"/>
                </a:moveTo>
                <a:lnTo>
                  <a:pt x="8439135" y="3053556"/>
                </a:lnTo>
                <a:lnTo>
                  <a:pt x="9249467" y="3917156"/>
                </a:lnTo>
                <a:lnTo>
                  <a:pt x="9105377" y="4171156"/>
                </a:lnTo>
                <a:lnTo>
                  <a:pt x="9583289" y="4171156"/>
                </a:lnTo>
                <a:lnTo>
                  <a:pt x="9437251" y="3929856"/>
                </a:lnTo>
                <a:lnTo>
                  <a:pt x="9559876" y="3472656"/>
                </a:lnTo>
                <a:lnTo>
                  <a:pt x="10419085" y="3472656"/>
                </a:lnTo>
                <a:lnTo>
                  <a:pt x="10271313" y="3193256"/>
                </a:lnTo>
                <a:lnTo>
                  <a:pt x="9633989" y="3193256"/>
                </a:lnTo>
                <a:lnTo>
                  <a:pt x="9637151" y="3180556"/>
                </a:lnTo>
                <a:lnTo>
                  <a:pt x="8675913" y="2151856"/>
                </a:lnTo>
                <a:close/>
              </a:path>
              <a:path w="13852525" h="11308715">
                <a:moveTo>
                  <a:pt x="4585933" y="3739356"/>
                </a:moveTo>
                <a:lnTo>
                  <a:pt x="3539797" y="3828256"/>
                </a:lnTo>
                <a:lnTo>
                  <a:pt x="3680254" y="3955256"/>
                </a:lnTo>
                <a:lnTo>
                  <a:pt x="4726390" y="3879056"/>
                </a:lnTo>
                <a:lnTo>
                  <a:pt x="4585933" y="3739356"/>
                </a:lnTo>
                <a:close/>
              </a:path>
              <a:path w="13852525" h="11308715">
                <a:moveTo>
                  <a:pt x="8349672" y="3472656"/>
                </a:moveTo>
                <a:lnTo>
                  <a:pt x="8225341" y="3929856"/>
                </a:lnTo>
                <a:lnTo>
                  <a:pt x="8844315" y="3929856"/>
                </a:lnTo>
                <a:lnTo>
                  <a:pt x="8349672" y="3472656"/>
                </a:lnTo>
                <a:close/>
              </a:path>
              <a:path w="13852525" h="11308715">
                <a:moveTo>
                  <a:pt x="5144827" y="3485356"/>
                </a:moveTo>
                <a:lnTo>
                  <a:pt x="5279462" y="3713956"/>
                </a:lnTo>
                <a:lnTo>
                  <a:pt x="6214302" y="3853656"/>
                </a:lnTo>
                <a:lnTo>
                  <a:pt x="6079668" y="3637756"/>
                </a:lnTo>
                <a:lnTo>
                  <a:pt x="5144827" y="3485356"/>
                </a:lnTo>
                <a:close/>
              </a:path>
              <a:path w="13852525" h="11308715">
                <a:moveTo>
                  <a:pt x="11044888" y="3358356"/>
                </a:moveTo>
                <a:lnTo>
                  <a:pt x="10594494" y="3828256"/>
                </a:lnTo>
                <a:lnTo>
                  <a:pt x="11149342" y="3828256"/>
                </a:lnTo>
                <a:lnTo>
                  <a:pt x="11044888" y="3358356"/>
                </a:lnTo>
                <a:close/>
              </a:path>
              <a:path w="13852525" h="11308715">
                <a:moveTo>
                  <a:pt x="7599810" y="2786856"/>
                </a:moveTo>
                <a:lnTo>
                  <a:pt x="7602313" y="3040856"/>
                </a:lnTo>
                <a:lnTo>
                  <a:pt x="8282857" y="3612356"/>
                </a:lnTo>
                <a:lnTo>
                  <a:pt x="8280355" y="3358356"/>
                </a:lnTo>
                <a:lnTo>
                  <a:pt x="7599810" y="2786856"/>
                </a:lnTo>
                <a:close/>
              </a:path>
              <a:path w="13852525" h="11308715">
                <a:moveTo>
                  <a:pt x="6351115" y="2977356"/>
                </a:moveTo>
                <a:lnTo>
                  <a:pt x="6420118" y="3218656"/>
                </a:lnTo>
                <a:lnTo>
                  <a:pt x="7252732" y="3599656"/>
                </a:lnTo>
                <a:lnTo>
                  <a:pt x="7183739" y="3345656"/>
                </a:lnTo>
                <a:lnTo>
                  <a:pt x="6351115" y="2977356"/>
                </a:lnTo>
                <a:close/>
              </a:path>
              <a:path w="13852525" h="11308715">
                <a:moveTo>
                  <a:pt x="12790678" y="1491456"/>
                </a:moveTo>
                <a:lnTo>
                  <a:pt x="12370890" y="1923256"/>
                </a:lnTo>
                <a:lnTo>
                  <a:pt x="12548382" y="3472656"/>
                </a:lnTo>
                <a:lnTo>
                  <a:pt x="12968181" y="3040856"/>
                </a:lnTo>
                <a:lnTo>
                  <a:pt x="12790678" y="1491456"/>
                </a:lnTo>
                <a:close/>
              </a:path>
              <a:path w="13852525" h="11308715">
                <a:moveTo>
                  <a:pt x="10591646" y="1453356"/>
                </a:moveTo>
                <a:lnTo>
                  <a:pt x="10217657" y="2113756"/>
                </a:lnTo>
                <a:lnTo>
                  <a:pt x="10830727" y="3459956"/>
                </a:lnTo>
                <a:lnTo>
                  <a:pt x="11204716" y="2799556"/>
                </a:lnTo>
                <a:lnTo>
                  <a:pt x="10591646" y="1453356"/>
                </a:lnTo>
                <a:close/>
              </a:path>
              <a:path w="13852525" h="11308715">
                <a:moveTo>
                  <a:pt x="4125801" y="3282156"/>
                </a:moveTo>
                <a:lnTo>
                  <a:pt x="3010421" y="3332956"/>
                </a:lnTo>
                <a:lnTo>
                  <a:pt x="3096628" y="3409156"/>
                </a:lnTo>
                <a:lnTo>
                  <a:pt x="4212018" y="3358356"/>
                </a:lnTo>
                <a:lnTo>
                  <a:pt x="4125801" y="3282156"/>
                </a:lnTo>
                <a:close/>
              </a:path>
              <a:path w="13852525" h="11308715">
                <a:moveTo>
                  <a:pt x="4776796" y="2888456"/>
                </a:moveTo>
                <a:lnTo>
                  <a:pt x="4874343" y="3040856"/>
                </a:lnTo>
                <a:lnTo>
                  <a:pt x="5865810" y="3231356"/>
                </a:lnTo>
                <a:lnTo>
                  <a:pt x="5768264" y="3078956"/>
                </a:lnTo>
                <a:lnTo>
                  <a:pt x="4776796" y="2888456"/>
                </a:lnTo>
                <a:close/>
              </a:path>
              <a:path w="13852525" h="11308715">
                <a:moveTo>
                  <a:pt x="9962335" y="2609056"/>
                </a:moveTo>
                <a:lnTo>
                  <a:pt x="9633989" y="3193256"/>
                </a:lnTo>
                <a:lnTo>
                  <a:pt x="10271313" y="3193256"/>
                </a:lnTo>
                <a:lnTo>
                  <a:pt x="9962335" y="2609056"/>
                </a:lnTo>
                <a:close/>
              </a:path>
              <a:path w="13852525" h="11308715">
                <a:moveTo>
                  <a:pt x="7587884" y="2113756"/>
                </a:moveTo>
                <a:lnTo>
                  <a:pt x="7590805" y="2291556"/>
                </a:lnTo>
                <a:lnTo>
                  <a:pt x="8294784" y="2926556"/>
                </a:lnTo>
                <a:lnTo>
                  <a:pt x="8291862" y="2736056"/>
                </a:lnTo>
                <a:lnTo>
                  <a:pt x="7587884" y="2113756"/>
                </a:lnTo>
                <a:close/>
              </a:path>
              <a:path w="13852525" h="11308715">
                <a:moveTo>
                  <a:pt x="6159801" y="2304256"/>
                </a:moveTo>
                <a:lnTo>
                  <a:pt x="6210376" y="2482056"/>
                </a:lnTo>
                <a:lnTo>
                  <a:pt x="7083951" y="2913856"/>
                </a:lnTo>
                <a:lnTo>
                  <a:pt x="7033366" y="2736056"/>
                </a:lnTo>
                <a:lnTo>
                  <a:pt x="6159801" y="2304256"/>
                </a:lnTo>
                <a:close/>
              </a:path>
              <a:path w="13852525" h="11308715">
                <a:moveTo>
                  <a:pt x="3665658" y="2812256"/>
                </a:moveTo>
                <a:lnTo>
                  <a:pt x="2481055" y="2837656"/>
                </a:lnTo>
                <a:lnTo>
                  <a:pt x="2512981" y="2863056"/>
                </a:lnTo>
                <a:lnTo>
                  <a:pt x="3697615" y="2837656"/>
                </a:lnTo>
                <a:lnTo>
                  <a:pt x="3665658" y="2812256"/>
                </a:lnTo>
                <a:close/>
              </a:path>
              <a:path w="13852525" h="11308715">
                <a:moveTo>
                  <a:pt x="9002134" y="843756"/>
                </a:moveTo>
                <a:lnTo>
                  <a:pt x="8802779" y="1605756"/>
                </a:lnTo>
                <a:lnTo>
                  <a:pt x="9774309" y="2761456"/>
                </a:lnTo>
                <a:lnTo>
                  <a:pt x="9973675" y="2012156"/>
                </a:lnTo>
                <a:lnTo>
                  <a:pt x="9002134" y="843756"/>
                </a:lnTo>
                <a:close/>
              </a:path>
              <a:path w="13852525" h="11308715">
                <a:moveTo>
                  <a:pt x="4408755" y="2278856"/>
                </a:moveTo>
                <a:lnTo>
                  <a:pt x="4469235" y="2380456"/>
                </a:lnTo>
                <a:lnTo>
                  <a:pt x="5517318" y="2609056"/>
                </a:lnTo>
                <a:lnTo>
                  <a:pt x="5456849" y="2520156"/>
                </a:lnTo>
                <a:lnTo>
                  <a:pt x="4408755" y="2278856"/>
                </a:lnTo>
                <a:close/>
              </a:path>
              <a:path w="13852525" h="11308715">
                <a:moveTo>
                  <a:pt x="11220946" y="284956"/>
                </a:moveTo>
                <a:lnTo>
                  <a:pt x="10915740" y="843756"/>
                </a:lnTo>
                <a:lnTo>
                  <a:pt x="11503785" y="2316956"/>
                </a:lnTo>
                <a:lnTo>
                  <a:pt x="11808991" y="1770856"/>
                </a:lnTo>
                <a:lnTo>
                  <a:pt x="11220946" y="284956"/>
                </a:lnTo>
                <a:close/>
              </a:path>
              <a:path w="13852525" h="11308715">
                <a:moveTo>
                  <a:pt x="5968477" y="1643856"/>
                </a:moveTo>
                <a:lnTo>
                  <a:pt x="6000644" y="1745456"/>
                </a:lnTo>
                <a:lnTo>
                  <a:pt x="6915171" y="2240756"/>
                </a:lnTo>
                <a:lnTo>
                  <a:pt x="6883015" y="2126456"/>
                </a:lnTo>
                <a:lnTo>
                  <a:pt x="5968477" y="1643856"/>
                </a:lnTo>
                <a:close/>
              </a:path>
              <a:path w="13852525" h="11308715">
                <a:moveTo>
                  <a:pt x="7575968" y="1427956"/>
                </a:moveTo>
                <a:lnTo>
                  <a:pt x="7579298" y="1542256"/>
                </a:lnTo>
                <a:lnTo>
                  <a:pt x="8306699" y="2240756"/>
                </a:lnTo>
                <a:lnTo>
                  <a:pt x="8303370" y="2126456"/>
                </a:lnTo>
                <a:lnTo>
                  <a:pt x="7575968" y="1427956"/>
                </a:lnTo>
                <a:close/>
              </a:path>
              <a:path w="13852525" h="11308715">
                <a:moveTo>
                  <a:pt x="4040735" y="1669256"/>
                </a:moveTo>
                <a:lnTo>
                  <a:pt x="4064096" y="1707356"/>
                </a:lnTo>
                <a:lnTo>
                  <a:pt x="5168826" y="1986756"/>
                </a:lnTo>
                <a:lnTo>
                  <a:pt x="5145445" y="1961356"/>
                </a:lnTo>
                <a:lnTo>
                  <a:pt x="4040735" y="1669256"/>
                </a:lnTo>
                <a:close/>
              </a:path>
              <a:path w="13852525" h="11308715">
                <a:moveTo>
                  <a:pt x="5777164" y="970756"/>
                </a:moveTo>
                <a:lnTo>
                  <a:pt x="5790923" y="1008856"/>
                </a:lnTo>
                <a:lnTo>
                  <a:pt x="6746391" y="1554956"/>
                </a:lnTo>
                <a:lnTo>
                  <a:pt x="6732643" y="1529556"/>
                </a:lnTo>
                <a:lnTo>
                  <a:pt x="5777164" y="970756"/>
                </a:lnTo>
                <a:close/>
              </a:path>
              <a:path w="13852525" h="11308715">
                <a:moveTo>
                  <a:pt x="7564041" y="754856"/>
                </a:moveTo>
                <a:lnTo>
                  <a:pt x="7567790" y="792956"/>
                </a:lnTo>
                <a:lnTo>
                  <a:pt x="8318636" y="1554956"/>
                </a:lnTo>
                <a:lnTo>
                  <a:pt x="8314888" y="1516856"/>
                </a:lnTo>
                <a:lnTo>
                  <a:pt x="7564041" y="754856"/>
                </a:lnTo>
                <a:close/>
              </a:path>
              <a:path w="13852525" h="11308715">
                <a:moveTo>
                  <a:pt x="9684684" y="5556"/>
                </a:moveTo>
                <a:lnTo>
                  <a:pt x="9205378" y="5556"/>
                </a:lnTo>
                <a:lnTo>
                  <a:pt x="9166401" y="157956"/>
                </a:lnTo>
                <a:lnTo>
                  <a:pt x="10148214" y="1453356"/>
                </a:lnTo>
                <a:lnTo>
                  <a:pt x="10310167" y="831056"/>
                </a:lnTo>
                <a:lnTo>
                  <a:pt x="9684684" y="5556"/>
                </a:lnTo>
                <a:close/>
              </a:path>
              <a:path w="13852525" h="11308715">
                <a:moveTo>
                  <a:pt x="12155392" y="5556"/>
                </a:moveTo>
                <a:lnTo>
                  <a:pt x="11769899" y="5556"/>
                </a:lnTo>
                <a:lnTo>
                  <a:pt x="12176843" y="1173956"/>
                </a:lnTo>
                <a:lnTo>
                  <a:pt x="12413266" y="742156"/>
                </a:lnTo>
                <a:lnTo>
                  <a:pt x="12155392" y="5556"/>
                </a:lnTo>
                <a:close/>
              </a:path>
              <a:path w="13852525" h="11308715">
                <a:moveTo>
                  <a:pt x="10558529" y="5556"/>
                </a:moveTo>
                <a:lnTo>
                  <a:pt x="10424416" y="5556"/>
                </a:lnTo>
                <a:lnTo>
                  <a:pt x="10522108" y="145256"/>
                </a:lnTo>
                <a:lnTo>
                  <a:pt x="10558529" y="5556"/>
                </a:lnTo>
                <a:close/>
              </a:path>
            </a:pathLst>
          </a:custGeom>
          <a:solidFill>
            <a:srgbClr val="1A0F5C">
              <a:alpha val="5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FDD0999-C447-FB95-885F-11AEB8E057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908" y="1714110"/>
            <a:ext cx="1840546" cy="610478"/>
          </a:xfrm>
          <a:prstGeom prst="rect">
            <a:avLst/>
          </a:prstGeom>
        </p:spPr>
      </p:pic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052BB045-3673-73C6-366C-5299FAB80CB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411629" y="5850238"/>
            <a:ext cx="2396464" cy="632869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88DEC64-D764-8A4C-D43B-2AB8EB9B34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176" y="5534568"/>
            <a:ext cx="7238755" cy="632870"/>
          </a:xfrm>
        </p:spPr>
        <p:txBody>
          <a:bodyPr>
            <a:norm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800">
                <a:solidFill>
                  <a:schemeClr val="bg1"/>
                </a:solidFill>
              </a:defRPr>
            </a:lvl2pPr>
            <a:lvl3pPr marL="914400" indent="0">
              <a:buNone/>
              <a:defRPr sz="800">
                <a:solidFill>
                  <a:schemeClr val="bg1"/>
                </a:solidFill>
              </a:defRPr>
            </a:lvl3pPr>
            <a:lvl4pPr marL="1371600" indent="0">
              <a:buNone/>
              <a:defRPr sz="800">
                <a:solidFill>
                  <a:schemeClr val="bg1"/>
                </a:solidFill>
              </a:defRPr>
            </a:lvl4pPr>
            <a:lvl5pPr marL="1828800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r>
              <a:rPr lang="en-GB" dirty="0">
                <a:effectLst/>
                <a:latin typeface="Arial" panose="020B0604020202020204" pitchFamily="34" charset="0"/>
              </a:rPr>
              <a:t>Lorem ipsum </a:t>
            </a:r>
            <a:r>
              <a:rPr lang="en-GB" dirty="0" err="1">
                <a:effectLst/>
                <a:latin typeface="Arial" panose="020B0604020202020204" pitchFamily="34" charset="0"/>
              </a:rPr>
              <a:t>dolor</a:t>
            </a:r>
            <a:r>
              <a:rPr lang="en-GB" dirty="0">
                <a:effectLst/>
                <a:latin typeface="Arial" panose="020B0604020202020204" pitchFamily="34" charset="0"/>
              </a:rPr>
              <a:t> sit </a:t>
            </a:r>
            <a:r>
              <a:rPr lang="en-GB" dirty="0" err="1">
                <a:effectLst/>
                <a:latin typeface="Arial" panose="020B0604020202020204" pitchFamily="34" charset="0"/>
              </a:rPr>
              <a:t>amet</a:t>
            </a:r>
            <a:r>
              <a:rPr lang="en-GB" dirty="0">
                <a:effectLst/>
                <a:latin typeface="Arial" panose="020B0604020202020204" pitchFamily="34" charset="0"/>
              </a:rPr>
              <a:t>, </a:t>
            </a:r>
            <a:r>
              <a:rPr lang="en-GB" dirty="0" err="1">
                <a:effectLst/>
                <a:latin typeface="Arial" panose="020B0604020202020204" pitchFamily="34" charset="0"/>
              </a:rPr>
              <a:t>consectetur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adipiscing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elit</a:t>
            </a:r>
            <a:r>
              <a:rPr lang="en-GB" dirty="0">
                <a:effectLst/>
                <a:latin typeface="Arial" panose="020B0604020202020204" pitchFamily="34" charset="0"/>
              </a:rPr>
              <a:t>. Ut convallis </a:t>
            </a:r>
            <a:r>
              <a:rPr lang="en-GB" dirty="0" err="1">
                <a:effectLst/>
                <a:latin typeface="Arial" panose="020B0604020202020204" pitchFamily="34" charset="0"/>
              </a:rPr>
              <a:t>aliquam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volutpat</a:t>
            </a:r>
            <a:r>
              <a:rPr lang="en-GB" dirty="0">
                <a:effectLst/>
                <a:latin typeface="Arial" panose="020B0604020202020204" pitchFamily="34" charset="0"/>
              </a:rPr>
              <a:t>. </a:t>
            </a:r>
            <a:r>
              <a:rPr lang="en-GB" dirty="0" err="1">
                <a:effectLst/>
                <a:latin typeface="Arial" panose="020B0604020202020204" pitchFamily="34" charset="0"/>
              </a:rPr>
              <a:t>Suspendisse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volutpat</a:t>
            </a:r>
            <a:r>
              <a:rPr lang="en-GB" dirty="0">
                <a:effectLst/>
                <a:latin typeface="Arial" panose="020B0604020202020204" pitchFamily="34" charset="0"/>
              </a:rPr>
              <a:t> id eros a </a:t>
            </a:r>
            <a:r>
              <a:rPr lang="en-GB" dirty="0" err="1">
                <a:effectLst/>
                <a:latin typeface="Arial" panose="020B0604020202020204" pitchFamily="34" charset="0"/>
              </a:rPr>
              <a:t>ultricies</a:t>
            </a:r>
            <a:r>
              <a:rPr lang="en-GB" dirty="0">
                <a:effectLst/>
                <a:latin typeface="Arial" panose="020B0604020202020204" pitchFamily="34" charset="0"/>
              </a:rPr>
              <a:t>. Vestibulum </a:t>
            </a:r>
            <a:r>
              <a:rPr lang="en-GB" dirty="0" err="1">
                <a:effectLst/>
                <a:latin typeface="Arial" panose="020B0604020202020204" pitchFamily="34" charset="0"/>
              </a:rPr>
              <a:t>iaculis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luctus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velit</a:t>
            </a:r>
            <a:r>
              <a:rPr lang="en-GB" dirty="0">
                <a:effectLst/>
                <a:latin typeface="Arial" panose="020B0604020202020204" pitchFamily="34" charset="0"/>
              </a:rPr>
              <a:t>, vitae fermentum </a:t>
            </a:r>
            <a:r>
              <a:rPr lang="en-GB" dirty="0" err="1">
                <a:effectLst/>
                <a:latin typeface="Arial" panose="020B0604020202020204" pitchFamily="34" charset="0"/>
              </a:rPr>
              <a:t>felis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sollicitudin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quis</a:t>
            </a:r>
            <a:r>
              <a:rPr lang="en-GB" dirty="0">
                <a:effectLst/>
                <a:latin typeface="Arial" panose="020B0604020202020204" pitchFamily="34" charset="0"/>
              </a:rPr>
              <a:t>. </a:t>
            </a:r>
            <a:r>
              <a:rPr lang="en-GB" dirty="0" err="1">
                <a:effectLst/>
                <a:latin typeface="Arial" panose="020B0604020202020204" pitchFamily="34" charset="0"/>
              </a:rPr>
              <a:t>Pellentesque</a:t>
            </a:r>
            <a:r>
              <a:rPr lang="en-GB" dirty="0">
                <a:effectLst/>
                <a:latin typeface="Arial" panose="020B0604020202020204" pitchFamily="34" charset="0"/>
              </a:rPr>
              <a:t> tempus libero </a:t>
            </a:r>
            <a:r>
              <a:rPr lang="en-GB" dirty="0" err="1">
                <a:effectLst/>
                <a:latin typeface="Arial" panose="020B0604020202020204" pitchFamily="34" charset="0"/>
              </a:rPr>
              <a:t>nibh</a:t>
            </a:r>
            <a:r>
              <a:rPr lang="en-GB" dirty="0">
                <a:effectLst/>
                <a:latin typeface="Arial" panose="020B0604020202020204" pitchFamily="34" charset="0"/>
              </a:rPr>
              <a:t>, </a:t>
            </a:r>
            <a:r>
              <a:rPr lang="en-GB" dirty="0" err="1">
                <a:effectLst/>
                <a:latin typeface="Arial" panose="020B0604020202020204" pitchFamily="34" charset="0"/>
              </a:rPr>
              <a:t>nec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interdum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urna</a:t>
            </a:r>
            <a:r>
              <a:rPr lang="en-GB" dirty="0">
                <a:effectLst/>
                <a:latin typeface="Arial" panose="020B0604020202020204" pitchFamily="34" charset="0"/>
              </a:rPr>
              <a:t> fermentum vel. Nunc </a:t>
            </a:r>
            <a:r>
              <a:rPr lang="en-GB" dirty="0" err="1">
                <a:effectLst/>
                <a:latin typeface="Arial" panose="020B0604020202020204" pitchFamily="34" charset="0"/>
              </a:rPr>
              <a:t>dignissim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lacus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velit</a:t>
            </a:r>
            <a:r>
              <a:rPr lang="en-GB" dirty="0">
                <a:effectLst/>
                <a:latin typeface="Arial" panose="020B0604020202020204" pitchFamily="34" charset="0"/>
              </a:rPr>
              <a:t>, </a:t>
            </a:r>
            <a:r>
              <a:rPr lang="en-GB" dirty="0" err="1">
                <a:effectLst/>
                <a:latin typeface="Arial" panose="020B0604020202020204" pitchFamily="34" charset="0"/>
              </a:rPr>
              <a:t>eu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hendrerit</a:t>
            </a:r>
            <a:r>
              <a:rPr lang="en-GB" dirty="0">
                <a:effectLst/>
                <a:latin typeface="Arial" panose="020B0604020202020204" pitchFamily="34" charset="0"/>
              </a:rPr>
              <a:t> magna </a:t>
            </a:r>
            <a:r>
              <a:rPr lang="en-GB" dirty="0" err="1">
                <a:effectLst/>
                <a:latin typeface="Arial" panose="020B0604020202020204" pitchFamily="34" charset="0"/>
              </a:rPr>
              <a:t>commodo</a:t>
            </a:r>
            <a:r>
              <a:rPr lang="en-GB" dirty="0">
                <a:effectLst/>
                <a:latin typeface="Arial" panose="020B0604020202020204" pitchFamily="34" charset="0"/>
              </a:rPr>
              <a:t> et. </a:t>
            </a:r>
            <a:r>
              <a:rPr lang="en-GB" dirty="0" err="1">
                <a:effectLst/>
                <a:latin typeface="Arial" panose="020B0604020202020204" pitchFamily="34" charset="0"/>
              </a:rPr>
              <a:t>Aliquam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suscipit</a:t>
            </a:r>
            <a:r>
              <a:rPr lang="en-GB" dirty="0">
                <a:effectLst/>
                <a:latin typeface="Arial" panose="020B0604020202020204" pitchFamily="34" charset="0"/>
              </a:rPr>
              <a:t>, </a:t>
            </a:r>
            <a:r>
              <a:rPr lang="en-GB" dirty="0" err="1">
                <a:effectLst/>
                <a:latin typeface="Arial" panose="020B0604020202020204" pitchFamily="34" charset="0"/>
              </a:rPr>
              <a:t>tellus</a:t>
            </a:r>
            <a:r>
              <a:rPr lang="en-GB" dirty="0">
                <a:effectLst/>
                <a:latin typeface="Arial" panose="020B0604020202020204" pitchFamily="34" charset="0"/>
              </a:rPr>
              <a:t> ac auctor </a:t>
            </a:r>
            <a:r>
              <a:rPr lang="en-GB" dirty="0" err="1">
                <a:effectLst/>
                <a:latin typeface="Arial" panose="020B0604020202020204" pitchFamily="34" charset="0"/>
              </a:rPr>
              <a:t>egestas</a:t>
            </a:r>
            <a:r>
              <a:rPr lang="en-GB" dirty="0">
                <a:effectLst/>
                <a:latin typeface="Arial" panose="020B0604020202020204" pitchFamily="34" charset="0"/>
              </a:rPr>
              <a:t>, </a:t>
            </a:r>
            <a:r>
              <a:rPr lang="en-GB" dirty="0" err="1">
                <a:effectLst/>
                <a:latin typeface="Arial" panose="020B0604020202020204" pitchFamily="34" charset="0"/>
              </a:rPr>
              <a:t>arcu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leo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molestie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augue</a:t>
            </a:r>
            <a:r>
              <a:rPr lang="en-GB" dirty="0">
                <a:effectLst/>
                <a:latin typeface="Arial" panose="020B0604020202020204" pitchFamily="34" charset="0"/>
              </a:rPr>
              <a:t>, at porta </a:t>
            </a:r>
            <a:r>
              <a:rPr lang="en-GB" dirty="0" err="1">
                <a:effectLst/>
                <a:latin typeface="Arial" panose="020B0604020202020204" pitchFamily="34" charset="0"/>
              </a:rPr>
              <a:t>dolor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odio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quis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lectus</a:t>
            </a:r>
            <a:r>
              <a:rPr lang="en-GB" dirty="0">
                <a:effectLst/>
                <a:latin typeface="Arial" panose="020B0604020202020204" pitchFamily="34" charset="0"/>
              </a:rPr>
              <a:t>. Integer </a:t>
            </a:r>
            <a:r>
              <a:rPr lang="en-GB" dirty="0" err="1">
                <a:effectLst/>
                <a:latin typeface="Arial" panose="020B0604020202020204" pitchFamily="34" charset="0"/>
              </a:rPr>
              <a:t>justo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orci</a:t>
            </a:r>
            <a:r>
              <a:rPr lang="en-GB" dirty="0">
                <a:effectLst/>
                <a:latin typeface="Arial" panose="020B0604020202020204" pitchFamily="34" charset="0"/>
              </a:rPr>
              <a:t>, </a:t>
            </a:r>
            <a:r>
              <a:rPr lang="en-GB" dirty="0" err="1">
                <a:effectLst/>
                <a:latin typeface="Arial" panose="020B0604020202020204" pitchFamily="34" charset="0"/>
              </a:rPr>
              <a:t>vulputate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ut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laoreet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ut</a:t>
            </a:r>
            <a:r>
              <a:rPr lang="en-GB" dirty="0">
                <a:effectLst/>
                <a:latin typeface="Arial" panose="020B0604020202020204" pitchFamily="34" charset="0"/>
              </a:rPr>
              <a:t>, </a:t>
            </a:r>
            <a:r>
              <a:rPr lang="en-GB" dirty="0" err="1">
                <a:effectLst/>
                <a:latin typeface="Arial" panose="020B0604020202020204" pitchFamily="34" charset="0"/>
              </a:rPr>
              <a:t>imperdiet</a:t>
            </a:r>
            <a:r>
              <a:rPr lang="en-GB" dirty="0">
                <a:effectLst/>
                <a:latin typeface="Arial" panose="020B0604020202020204" pitchFamily="34" charset="0"/>
              </a:rPr>
              <a:t> id </a:t>
            </a:r>
            <a:r>
              <a:rPr lang="en-GB" dirty="0" err="1">
                <a:effectLst/>
                <a:latin typeface="Arial" panose="020B0604020202020204" pitchFamily="34" charset="0"/>
              </a:rPr>
              <a:t>neque</a:t>
            </a:r>
            <a:r>
              <a:rPr lang="en-GB" dirty="0">
                <a:effectLst/>
                <a:latin typeface="Arial" panose="020B0604020202020204" pitchFamily="34" charset="0"/>
              </a:rPr>
              <a:t>. Vestibulum ante ipsum </a:t>
            </a:r>
            <a:r>
              <a:rPr lang="en-GB" dirty="0" err="1">
                <a:effectLst/>
                <a:latin typeface="Arial" panose="020B0604020202020204" pitchFamily="34" charset="0"/>
              </a:rPr>
              <a:t>primis</a:t>
            </a:r>
            <a:r>
              <a:rPr lang="en-GB" dirty="0">
                <a:effectLst/>
                <a:latin typeface="Arial" panose="020B0604020202020204" pitchFamily="34" charset="0"/>
              </a:rPr>
              <a:t> in </a:t>
            </a:r>
            <a:r>
              <a:rPr lang="en-GB" dirty="0" err="1">
                <a:effectLst/>
                <a:latin typeface="Arial" panose="020B0604020202020204" pitchFamily="34" charset="0"/>
              </a:rPr>
              <a:t>faucibus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orci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luctus</a:t>
            </a:r>
            <a:r>
              <a:rPr lang="en-GB" dirty="0">
                <a:effectLst/>
                <a:latin typeface="Arial" panose="020B0604020202020204" pitchFamily="34" charset="0"/>
              </a:rPr>
              <a:t> et </a:t>
            </a:r>
            <a:r>
              <a:rPr lang="en-GB" dirty="0" err="1">
                <a:effectLst/>
                <a:latin typeface="Arial" panose="020B0604020202020204" pitchFamily="34" charset="0"/>
              </a:rPr>
              <a:t>ultrices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posuere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cubilia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curae</a:t>
            </a:r>
            <a:r>
              <a:rPr lang="en-GB" dirty="0">
                <a:effectLst/>
                <a:latin typeface="Arial" panose="020B0604020202020204" pitchFamily="34" charset="0"/>
              </a:rPr>
              <a:t>; Nam gravida </a:t>
            </a:r>
            <a:r>
              <a:rPr lang="en-GB" dirty="0" err="1">
                <a:effectLst/>
                <a:latin typeface="Arial" panose="020B0604020202020204" pitchFamily="34" charset="0"/>
              </a:rPr>
              <a:t>odio</a:t>
            </a:r>
            <a:r>
              <a:rPr lang="en-GB" dirty="0">
                <a:effectLst/>
                <a:latin typeface="Arial" panose="020B0604020202020204" pitchFamily="34" charset="0"/>
              </a:rPr>
              <a:t> id </a:t>
            </a:r>
            <a:r>
              <a:rPr lang="en-GB" dirty="0" err="1">
                <a:effectLst/>
                <a:latin typeface="Arial" panose="020B0604020202020204" pitchFamily="34" charset="0"/>
              </a:rPr>
              <a:t>bibendum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posuere</a:t>
            </a:r>
            <a:r>
              <a:rPr lang="en-GB" dirty="0">
                <a:effectLst/>
                <a:latin typeface="Arial" panose="020B0604020202020204" pitchFamily="34" charset="0"/>
              </a:rPr>
              <a:t>. Nunc </a:t>
            </a:r>
            <a:r>
              <a:rPr lang="en-GB" dirty="0" err="1">
                <a:effectLst/>
                <a:latin typeface="Arial" panose="020B0604020202020204" pitchFamily="34" charset="0"/>
              </a:rPr>
              <a:t>massa</a:t>
            </a:r>
            <a:r>
              <a:rPr lang="en-GB" dirty="0">
                <a:effectLst/>
                <a:latin typeface="Arial" panose="020B0604020202020204" pitchFamily="34" charset="0"/>
              </a:rPr>
              <a:t> ante, </a:t>
            </a:r>
            <a:r>
              <a:rPr lang="en-GB" dirty="0" err="1">
                <a:effectLst/>
                <a:latin typeface="Arial" panose="020B0604020202020204" pitchFamily="34" charset="0"/>
              </a:rPr>
              <a:t>elementum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quis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massa</a:t>
            </a:r>
            <a:r>
              <a:rPr lang="en-GB" dirty="0">
                <a:effectLst/>
                <a:latin typeface="Arial" panose="020B0604020202020204" pitchFamily="34" charset="0"/>
              </a:rPr>
              <a:t> vitae, maximus porta </a:t>
            </a:r>
            <a:r>
              <a:rPr lang="en-GB" dirty="0" err="1">
                <a:effectLst/>
                <a:latin typeface="Arial" panose="020B0604020202020204" pitchFamily="34" charset="0"/>
              </a:rPr>
              <a:t>nunc</a:t>
            </a:r>
            <a:r>
              <a:rPr lang="en-GB" dirty="0">
                <a:effectLst/>
                <a:latin typeface="Arial" panose="020B0604020202020204" pitchFamily="34" charset="0"/>
              </a:rPr>
              <a:t>. </a:t>
            </a:r>
            <a:r>
              <a:rPr lang="en-GB" dirty="0" err="1">
                <a:effectLst/>
                <a:latin typeface="Arial" panose="020B0604020202020204" pitchFamily="34" charset="0"/>
              </a:rPr>
              <a:t>Quisque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ut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aliquam</a:t>
            </a:r>
            <a:r>
              <a:rPr lang="en-GB" dirty="0">
                <a:effectLst/>
                <a:latin typeface="Arial" panose="020B0604020202020204" pitchFamily="34" charset="0"/>
              </a:rPr>
              <a:t> </a:t>
            </a:r>
            <a:r>
              <a:rPr lang="en-GB" dirty="0" err="1">
                <a:effectLst/>
                <a:latin typeface="Arial" panose="020B0604020202020204" pitchFamily="34" charset="0"/>
              </a:rPr>
              <a:t>odio</a:t>
            </a:r>
            <a:r>
              <a:rPr lang="en-GB" dirty="0">
                <a:effectLst/>
                <a:latin typeface="Arial" panose="020B0604020202020204" pitchFamily="34" charset="0"/>
              </a:rPr>
              <a:t>, in </a:t>
            </a:r>
            <a:r>
              <a:rPr lang="en-GB" dirty="0" err="1">
                <a:effectLst/>
                <a:latin typeface="Arial" panose="020B0604020202020204" pitchFamily="34" charset="0"/>
              </a:rPr>
              <a:t>tempor</a:t>
            </a:r>
            <a:r>
              <a:rPr lang="en-GB" dirty="0">
                <a:effectLst/>
                <a:latin typeface="Arial" panose="020B0604020202020204" pitchFamily="34" charset="0"/>
              </a:rPr>
              <a:t> ligula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4464583-1239-FB82-9175-7322CF8AE6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3907" y="4832854"/>
            <a:ext cx="7239024" cy="323850"/>
          </a:xfrm>
        </p:spPr>
        <p:txBody>
          <a:bodyPr anchor="ctr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 err="1"/>
              <a:t>contact@jmangroup.com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A24E46-427A-7DEC-DE9C-066068F7BE7A}"/>
              </a:ext>
            </a:extLst>
          </p:cNvPr>
          <p:cNvSpPr txBox="1"/>
          <p:nvPr userDrawn="1"/>
        </p:nvSpPr>
        <p:spPr>
          <a:xfrm>
            <a:off x="383907" y="4460488"/>
            <a:ext cx="7239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0E9EBB-6A53-3F7B-9800-BBA831116867}"/>
              </a:ext>
            </a:extLst>
          </p:cNvPr>
          <p:cNvSpPr txBox="1"/>
          <p:nvPr userDrawn="1"/>
        </p:nvSpPr>
        <p:spPr>
          <a:xfrm>
            <a:off x="1" y="-825190"/>
            <a:ext cx="2389352" cy="646331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Change background to match front cov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A26425-6CAA-69B2-B0CC-EA6F39B1F0F3}"/>
              </a:ext>
            </a:extLst>
          </p:cNvPr>
          <p:cNvSpPr txBox="1"/>
          <p:nvPr userDrawn="1"/>
        </p:nvSpPr>
        <p:spPr>
          <a:xfrm>
            <a:off x="383907" y="6267664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mangroup.com</a:t>
            </a:r>
            <a:endParaRPr lang="en-GB" sz="800" spc="55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32539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Li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35F4A639-08E5-4A72-BA2B-5D892876578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81000" y="1601152"/>
            <a:ext cx="11430000" cy="365760"/>
          </a:xfrm>
          <a:custGeom>
            <a:avLst/>
            <a:gdLst>
              <a:gd name="connsiteX0" fmla="*/ 102870 w 11430000"/>
              <a:gd name="connsiteY0" fmla="*/ 0 h 411480"/>
              <a:gd name="connsiteX1" fmla="*/ 11430000 w 11430000"/>
              <a:gd name="connsiteY1" fmla="*/ 0 h 411480"/>
              <a:gd name="connsiteX2" fmla="*/ 11327130 w 11430000"/>
              <a:gd name="connsiteY2" fmla="*/ 411480 h 411480"/>
              <a:gd name="connsiteX3" fmla="*/ 0 w 11430000"/>
              <a:gd name="connsiteY3" fmla="*/ 411480 h 411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11480">
                <a:moveTo>
                  <a:pt x="102870" y="0"/>
                </a:moveTo>
                <a:lnTo>
                  <a:pt x="11430000" y="0"/>
                </a:lnTo>
                <a:lnTo>
                  <a:pt x="11327130" y="411480"/>
                </a:lnTo>
                <a:lnTo>
                  <a:pt x="0" y="4114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105156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600" b="1" baseline="0"/>
            </a:lvl1pPr>
            <a:lvl2pPr marL="0" indent="0">
              <a:lnSpc>
                <a:spcPct val="100000"/>
              </a:lnSpc>
              <a:spcBef>
                <a:spcPts val="2100"/>
              </a:spcBef>
              <a:buNone/>
              <a:defRPr sz="1400" baseline="0">
                <a:solidFill>
                  <a:schemeClr val="tx1"/>
                </a:solidFill>
              </a:defRPr>
            </a:lvl2pPr>
            <a:lvl3pPr marL="1200150" indent="-285750">
              <a:lnSpc>
                <a:spcPct val="90000"/>
              </a:lnSpc>
              <a:spcBef>
                <a:spcPts val="1000"/>
              </a:spcBef>
              <a:buNone/>
              <a:defRPr lang="en-US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5396A93-7AB1-4528-BDE2-D0E1DC0A5A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7106" y="1509712"/>
            <a:ext cx="731520" cy="548640"/>
          </a:xfrm>
          <a:prstGeom prst="flowChartInputOutput">
            <a:avLst/>
          </a:prstGeom>
          <a:solidFill>
            <a:schemeClr val="tx2"/>
          </a:solidFill>
        </p:spPr>
        <p:txBody>
          <a:bodyPr lIns="45720" rIns="4572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600" b="1" i="0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3pPr>
            <a:lvl4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30C33A4-A8F3-469E-93A7-19A441E2BA24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81000" y="2294291"/>
            <a:ext cx="11430000" cy="365760"/>
          </a:xfrm>
          <a:custGeom>
            <a:avLst/>
            <a:gdLst>
              <a:gd name="connsiteX0" fmla="*/ 102870 w 11430000"/>
              <a:gd name="connsiteY0" fmla="*/ 0 h 411480"/>
              <a:gd name="connsiteX1" fmla="*/ 11430000 w 11430000"/>
              <a:gd name="connsiteY1" fmla="*/ 0 h 411480"/>
              <a:gd name="connsiteX2" fmla="*/ 11327130 w 11430000"/>
              <a:gd name="connsiteY2" fmla="*/ 411480 h 411480"/>
              <a:gd name="connsiteX3" fmla="*/ 0 w 11430000"/>
              <a:gd name="connsiteY3" fmla="*/ 411480 h 411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11480">
                <a:moveTo>
                  <a:pt x="102870" y="0"/>
                </a:moveTo>
                <a:lnTo>
                  <a:pt x="11430000" y="0"/>
                </a:lnTo>
                <a:lnTo>
                  <a:pt x="11327130" y="411480"/>
                </a:lnTo>
                <a:lnTo>
                  <a:pt x="0" y="4114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105156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600" b="1" baseline="0"/>
            </a:lvl1pPr>
            <a:lvl2pPr marL="0" indent="0">
              <a:lnSpc>
                <a:spcPct val="100000"/>
              </a:lnSpc>
              <a:spcBef>
                <a:spcPts val="2100"/>
              </a:spcBef>
              <a:buNone/>
              <a:defRPr lang="en-GB" sz="1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indent="-285750">
              <a:lnSpc>
                <a:spcPct val="90000"/>
              </a:lnSpc>
              <a:spcBef>
                <a:spcPts val="1000"/>
              </a:spcBef>
              <a:buNone/>
              <a:defRPr lang="en-US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D1F859AA-70B4-408C-8676-499785F437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106" y="2202851"/>
            <a:ext cx="731520" cy="548640"/>
          </a:xfrm>
          <a:prstGeom prst="flowChartInputOutput">
            <a:avLst/>
          </a:prstGeom>
          <a:solidFill>
            <a:schemeClr val="bg1">
              <a:lumMod val="85000"/>
            </a:schemeClr>
          </a:solidFill>
        </p:spPr>
        <p:txBody>
          <a:bodyPr lIns="45720" rIns="4572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600" b="1" i="0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3pPr>
            <a:lvl4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C4AB91E0-7E1F-4409-BB3A-4EB7D9F983C2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381000" y="2987430"/>
            <a:ext cx="11430000" cy="365760"/>
          </a:xfrm>
          <a:custGeom>
            <a:avLst/>
            <a:gdLst>
              <a:gd name="connsiteX0" fmla="*/ 102870 w 11430000"/>
              <a:gd name="connsiteY0" fmla="*/ 0 h 411480"/>
              <a:gd name="connsiteX1" fmla="*/ 11430000 w 11430000"/>
              <a:gd name="connsiteY1" fmla="*/ 0 h 411480"/>
              <a:gd name="connsiteX2" fmla="*/ 11327130 w 11430000"/>
              <a:gd name="connsiteY2" fmla="*/ 411480 h 411480"/>
              <a:gd name="connsiteX3" fmla="*/ 0 w 11430000"/>
              <a:gd name="connsiteY3" fmla="*/ 411480 h 411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11480">
                <a:moveTo>
                  <a:pt x="102870" y="0"/>
                </a:moveTo>
                <a:lnTo>
                  <a:pt x="11430000" y="0"/>
                </a:lnTo>
                <a:lnTo>
                  <a:pt x="11327130" y="411480"/>
                </a:lnTo>
                <a:lnTo>
                  <a:pt x="0" y="4114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105156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600" b="1" baseline="0"/>
            </a:lvl1pPr>
            <a:lvl2pPr marL="0" indent="0">
              <a:lnSpc>
                <a:spcPct val="100000"/>
              </a:lnSpc>
              <a:spcBef>
                <a:spcPts val="2100"/>
              </a:spcBef>
              <a:buNone/>
              <a:defRPr lang="en-GB" sz="1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indent="-285750">
              <a:lnSpc>
                <a:spcPct val="90000"/>
              </a:lnSpc>
              <a:spcBef>
                <a:spcPts val="1000"/>
              </a:spcBef>
              <a:buNone/>
              <a:defRPr lang="en-US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B0C74E1-3AAA-43C1-9D8C-25E131BD5F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106" y="2895990"/>
            <a:ext cx="731520" cy="548640"/>
          </a:xfrm>
          <a:prstGeom prst="flowChartInputOutput">
            <a:avLst/>
          </a:prstGeom>
          <a:solidFill>
            <a:schemeClr val="bg1">
              <a:lumMod val="85000"/>
            </a:schemeClr>
          </a:solidFill>
        </p:spPr>
        <p:txBody>
          <a:bodyPr lIns="45720" rIns="4572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600" b="1" i="0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3pPr>
            <a:lvl4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DCC4BA1A-C1C2-4373-85B3-130A825754CB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381000" y="3680569"/>
            <a:ext cx="11430000" cy="365760"/>
          </a:xfrm>
          <a:custGeom>
            <a:avLst/>
            <a:gdLst>
              <a:gd name="connsiteX0" fmla="*/ 102870 w 11430000"/>
              <a:gd name="connsiteY0" fmla="*/ 0 h 411480"/>
              <a:gd name="connsiteX1" fmla="*/ 11430000 w 11430000"/>
              <a:gd name="connsiteY1" fmla="*/ 0 h 411480"/>
              <a:gd name="connsiteX2" fmla="*/ 11327130 w 11430000"/>
              <a:gd name="connsiteY2" fmla="*/ 411480 h 411480"/>
              <a:gd name="connsiteX3" fmla="*/ 0 w 11430000"/>
              <a:gd name="connsiteY3" fmla="*/ 411480 h 411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11480">
                <a:moveTo>
                  <a:pt x="102870" y="0"/>
                </a:moveTo>
                <a:lnTo>
                  <a:pt x="11430000" y="0"/>
                </a:lnTo>
                <a:lnTo>
                  <a:pt x="11327130" y="411480"/>
                </a:lnTo>
                <a:lnTo>
                  <a:pt x="0" y="4114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105156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600" b="1" baseline="0"/>
            </a:lvl1pPr>
            <a:lvl2pPr marL="0" indent="0">
              <a:lnSpc>
                <a:spcPct val="100000"/>
              </a:lnSpc>
              <a:spcBef>
                <a:spcPts val="2100"/>
              </a:spcBef>
              <a:buNone/>
              <a:defRPr lang="en-GB" sz="1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indent="-285750">
              <a:lnSpc>
                <a:spcPct val="90000"/>
              </a:lnSpc>
              <a:spcBef>
                <a:spcPts val="1000"/>
              </a:spcBef>
              <a:buNone/>
              <a:defRPr lang="en-US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1"/>
            <a:r>
              <a:rPr lang="en-GB"/>
              <a:t>Click to edit Master text styles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F6E2320-1437-4667-BC1B-C44C85F221A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106" y="3589129"/>
            <a:ext cx="731520" cy="548640"/>
          </a:xfrm>
          <a:prstGeom prst="flowChartInputOutput">
            <a:avLst/>
          </a:prstGeom>
          <a:solidFill>
            <a:schemeClr val="bg1">
              <a:lumMod val="85000"/>
            </a:schemeClr>
          </a:solidFill>
        </p:spPr>
        <p:txBody>
          <a:bodyPr lIns="45720" rIns="4572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600" b="1" i="0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3pPr>
            <a:lvl4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EE9F9E-25AB-C5BE-F769-7BA667C17B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208395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1">
    <p:bg>
      <p:bgPr>
        <a:gradFill>
          <a:gsLst>
            <a:gs pos="100000">
              <a:schemeClr val="bg2"/>
            </a:gs>
            <a:gs pos="0">
              <a:schemeClr val="accent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2140F33-259D-7446-718A-78A220058B3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72032" y="1"/>
            <a:ext cx="7519969" cy="6857603"/>
          </a:xfrm>
          <a:custGeom>
            <a:avLst/>
            <a:gdLst>
              <a:gd name="connsiteX0" fmla="*/ 3362094 w 7519969"/>
              <a:gd name="connsiteY0" fmla="*/ 5329533 h 6857603"/>
              <a:gd name="connsiteX1" fmla="*/ 3220954 w 7519969"/>
              <a:gd name="connsiteY1" fmla="*/ 6178219 h 6857603"/>
              <a:gd name="connsiteX2" fmla="*/ 3134643 w 7519969"/>
              <a:gd name="connsiteY2" fmla="*/ 6697363 h 6857603"/>
              <a:gd name="connsiteX3" fmla="*/ 2522397 w 7519969"/>
              <a:gd name="connsiteY3" fmla="*/ 6857603 h 6857603"/>
              <a:gd name="connsiteX4" fmla="*/ 2522400 w 7519969"/>
              <a:gd name="connsiteY4" fmla="*/ 6857585 h 6857603"/>
              <a:gd name="connsiteX5" fmla="*/ 2749848 w 7519969"/>
              <a:gd name="connsiteY5" fmla="*/ 5489773 h 6857603"/>
              <a:gd name="connsiteX6" fmla="*/ 3362014 w 7519969"/>
              <a:gd name="connsiteY6" fmla="*/ 5329554 h 6857603"/>
              <a:gd name="connsiteX7" fmla="*/ 3747484 w 7519969"/>
              <a:gd name="connsiteY7" fmla="*/ 4865609 h 6857603"/>
              <a:gd name="connsiteX8" fmla="*/ 4207524 w 7519969"/>
              <a:gd name="connsiteY8" fmla="*/ 5486240 h 6857603"/>
              <a:gd name="connsiteX9" fmla="*/ 4207545 w 7519969"/>
              <a:gd name="connsiteY9" fmla="*/ 5486268 h 6857603"/>
              <a:gd name="connsiteX10" fmla="*/ 4117530 w 7519969"/>
              <a:gd name="connsiteY10" fmla="*/ 5646310 h 6857603"/>
              <a:gd name="connsiteX11" fmla="*/ 4034725 w 7519969"/>
              <a:gd name="connsiteY11" fmla="*/ 5793588 h 6857603"/>
              <a:gd name="connsiteX12" fmla="*/ 3574664 w 7519969"/>
              <a:gd name="connsiteY12" fmla="*/ 5172996 h 6857603"/>
              <a:gd name="connsiteX13" fmla="*/ 3574685 w 7519969"/>
              <a:gd name="connsiteY13" fmla="*/ 5172959 h 6857603"/>
              <a:gd name="connsiteX14" fmla="*/ 3247344 w 7519969"/>
              <a:gd name="connsiteY14" fmla="*/ 3999001 h 6857603"/>
              <a:gd name="connsiteX15" fmla="*/ 7519969 w 7519969"/>
              <a:gd name="connsiteY15" fmla="*/ 6163668 h 6857603"/>
              <a:gd name="connsiteX16" fmla="*/ 7519969 w 7519969"/>
              <a:gd name="connsiteY16" fmla="*/ 6163700 h 6857603"/>
              <a:gd name="connsiteX17" fmla="*/ 3247278 w 7519969"/>
              <a:gd name="connsiteY17" fmla="*/ 3998935 h 6857603"/>
              <a:gd name="connsiteX18" fmla="*/ 3247346 w 7519969"/>
              <a:gd name="connsiteY18" fmla="*/ 3998969 h 6857603"/>
              <a:gd name="connsiteX19" fmla="*/ 3247344 w 7519969"/>
              <a:gd name="connsiteY19" fmla="*/ 3999001 h 6857603"/>
              <a:gd name="connsiteX20" fmla="*/ 728187 w 7519969"/>
              <a:gd name="connsiteY20" fmla="*/ 1273128 h 6857603"/>
              <a:gd name="connsiteX21" fmla="*/ 1947520 w 7519969"/>
              <a:gd name="connsiteY21" fmla="*/ 3566557 h 6857603"/>
              <a:gd name="connsiteX22" fmla="*/ 1576151 w 7519969"/>
              <a:gd name="connsiteY22" fmla="*/ 4043641 h 6857603"/>
              <a:gd name="connsiteX23" fmla="*/ 1219333 w 7519969"/>
              <a:gd name="connsiteY23" fmla="*/ 4502009 h 6857603"/>
              <a:gd name="connsiteX24" fmla="*/ 93322 w 7519969"/>
              <a:gd name="connsiteY24" fmla="*/ 2384098 h 6857603"/>
              <a:gd name="connsiteX25" fmla="*/ 0 w 7519969"/>
              <a:gd name="connsiteY25" fmla="*/ 2208580 h 6857603"/>
              <a:gd name="connsiteX26" fmla="*/ 461450 w 7519969"/>
              <a:gd name="connsiteY26" fmla="*/ 1615763 h 6857603"/>
              <a:gd name="connsiteX27" fmla="*/ 461450 w 7519969"/>
              <a:gd name="connsiteY27" fmla="*/ 1615830 h 6857603"/>
              <a:gd name="connsiteX28" fmla="*/ 2373850 w 7519969"/>
              <a:gd name="connsiteY28" fmla="*/ 347000 h 6857603"/>
              <a:gd name="connsiteX29" fmla="*/ 2592372 w 7519969"/>
              <a:gd name="connsiteY29" fmla="*/ 567554 h 6857603"/>
              <a:gd name="connsiteX30" fmla="*/ 2761753 w 7519969"/>
              <a:gd name="connsiteY30" fmla="*/ 738508 h 6857603"/>
              <a:gd name="connsiteX31" fmla="*/ 2670945 w 7519969"/>
              <a:gd name="connsiteY31" fmla="*/ 973082 h 6857603"/>
              <a:gd name="connsiteX32" fmla="*/ 2283042 w 7519969"/>
              <a:gd name="connsiteY32" fmla="*/ 581574 h 6857603"/>
              <a:gd name="connsiteX33" fmla="*/ 2373832 w 7519969"/>
              <a:gd name="connsiteY33" fmla="*/ 347048 h 6857603"/>
              <a:gd name="connsiteX34" fmla="*/ 6876770 w 7519969"/>
              <a:gd name="connsiteY34" fmla="*/ 0 h 6857603"/>
              <a:gd name="connsiteX35" fmla="*/ 6208704 w 7519969"/>
              <a:gd name="connsiteY35" fmla="*/ 597975 h 6857603"/>
              <a:gd name="connsiteX36" fmla="*/ 6876837 w 7519969"/>
              <a:gd name="connsiteY36" fmla="*/ 0 h 6857603"/>
              <a:gd name="connsiteX37" fmla="*/ 7519969 w 7519969"/>
              <a:gd name="connsiteY37" fmla="*/ 0 h 6857603"/>
              <a:gd name="connsiteX38" fmla="*/ 7519969 w 7519969"/>
              <a:gd name="connsiteY38" fmla="*/ 6163668 h 6857603"/>
              <a:gd name="connsiteX39" fmla="*/ 3247346 w 7519969"/>
              <a:gd name="connsiteY39" fmla="*/ 3998969 h 6857603"/>
              <a:gd name="connsiteX40" fmla="*/ 3260968 w 7519969"/>
              <a:gd name="connsiteY40" fmla="*/ 3717010 h 6857603"/>
              <a:gd name="connsiteX41" fmla="*/ 3286299 w 7519969"/>
              <a:gd name="connsiteY41" fmla="*/ 3191979 h 6857603"/>
              <a:gd name="connsiteX42" fmla="*/ 2624912 w 7519969"/>
              <a:gd name="connsiteY42" fmla="*/ 3263204 h 6857603"/>
              <a:gd name="connsiteX43" fmla="*/ 3041388 w 7519969"/>
              <a:gd name="connsiteY43" fmla="*/ 1978569 h 6857603"/>
              <a:gd name="connsiteX44" fmla="*/ 3568447 w 7519969"/>
              <a:gd name="connsiteY44" fmla="*/ 352688 h 6857603"/>
              <a:gd name="connsiteX45" fmla="*/ 4956896 w 7519969"/>
              <a:gd name="connsiteY45" fmla="*/ 203227 h 6857603"/>
              <a:gd name="connsiteX46" fmla="*/ 4764169 w 7519969"/>
              <a:gd name="connsiteY46" fmla="*/ 797763 h 6857603"/>
              <a:gd name="connsiteX47" fmla="*/ 4398289 w 7519969"/>
              <a:gd name="connsiteY47" fmla="*/ 1926390 h 6857603"/>
              <a:gd name="connsiteX48" fmla="*/ 7065200 w 7519969"/>
              <a:gd name="connsiteY48" fmla="*/ 3277555 h 6857603"/>
              <a:gd name="connsiteX49" fmla="*/ 6867445 w 7519969"/>
              <a:gd name="connsiteY49" fmla="*/ 2658880 h 6857603"/>
              <a:gd name="connsiteX50" fmla="*/ 6867379 w 7519969"/>
              <a:gd name="connsiteY50" fmla="*/ 2658880 h 6857603"/>
              <a:gd name="connsiteX51" fmla="*/ 6208637 w 7519969"/>
              <a:gd name="connsiteY51" fmla="*/ 597975 h 6857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7519969" h="6857603">
                <a:moveTo>
                  <a:pt x="3362094" y="5329533"/>
                </a:moveTo>
                <a:lnTo>
                  <a:pt x="3220954" y="6178219"/>
                </a:lnTo>
                <a:lnTo>
                  <a:pt x="3134643" y="6697363"/>
                </a:lnTo>
                <a:lnTo>
                  <a:pt x="2522397" y="6857603"/>
                </a:lnTo>
                <a:lnTo>
                  <a:pt x="2522400" y="6857585"/>
                </a:lnTo>
                <a:lnTo>
                  <a:pt x="2749848" y="5489773"/>
                </a:lnTo>
                <a:lnTo>
                  <a:pt x="3362014" y="5329554"/>
                </a:lnTo>
                <a:close/>
                <a:moveTo>
                  <a:pt x="3747484" y="4865609"/>
                </a:moveTo>
                <a:lnTo>
                  <a:pt x="4207524" y="5486240"/>
                </a:lnTo>
                <a:lnTo>
                  <a:pt x="4207545" y="5486268"/>
                </a:lnTo>
                <a:lnTo>
                  <a:pt x="4117530" y="5646310"/>
                </a:lnTo>
                <a:lnTo>
                  <a:pt x="4034725" y="5793588"/>
                </a:lnTo>
                <a:lnTo>
                  <a:pt x="3574664" y="5172996"/>
                </a:lnTo>
                <a:lnTo>
                  <a:pt x="3574685" y="5172959"/>
                </a:lnTo>
                <a:close/>
                <a:moveTo>
                  <a:pt x="3247344" y="3999001"/>
                </a:moveTo>
                <a:lnTo>
                  <a:pt x="7519969" y="6163668"/>
                </a:lnTo>
                <a:lnTo>
                  <a:pt x="7519969" y="6163700"/>
                </a:lnTo>
                <a:close/>
                <a:moveTo>
                  <a:pt x="3247278" y="3998935"/>
                </a:moveTo>
                <a:lnTo>
                  <a:pt x="3247346" y="3998969"/>
                </a:lnTo>
                <a:lnTo>
                  <a:pt x="3247344" y="3999001"/>
                </a:lnTo>
                <a:close/>
                <a:moveTo>
                  <a:pt x="728187" y="1273128"/>
                </a:moveTo>
                <a:lnTo>
                  <a:pt x="1947520" y="3566557"/>
                </a:lnTo>
                <a:lnTo>
                  <a:pt x="1576151" y="4043641"/>
                </a:lnTo>
                <a:lnTo>
                  <a:pt x="1219333" y="4502009"/>
                </a:lnTo>
                <a:lnTo>
                  <a:pt x="93322" y="2384098"/>
                </a:lnTo>
                <a:lnTo>
                  <a:pt x="0" y="2208580"/>
                </a:lnTo>
                <a:lnTo>
                  <a:pt x="461450" y="1615763"/>
                </a:lnTo>
                <a:lnTo>
                  <a:pt x="461450" y="1615830"/>
                </a:lnTo>
                <a:close/>
                <a:moveTo>
                  <a:pt x="2373850" y="347000"/>
                </a:moveTo>
                <a:lnTo>
                  <a:pt x="2592372" y="567554"/>
                </a:lnTo>
                <a:lnTo>
                  <a:pt x="2761753" y="738508"/>
                </a:lnTo>
                <a:lnTo>
                  <a:pt x="2670945" y="973082"/>
                </a:lnTo>
                <a:lnTo>
                  <a:pt x="2283042" y="581574"/>
                </a:lnTo>
                <a:lnTo>
                  <a:pt x="2373832" y="347048"/>
                </a:lnTo>
                <a:close/>
                <a:moveTo>
                  <a:pt x="6876770" y="0"/>
                </a:moveTo>
                <a:lnTo>
                  <a:pt x="6208704" y="597975"/>
                </a:lnTo>
                <a:lnTo>
                  <a:pt x="6876837" y="0"/>
                </a:lnTo>
                <a:lnTo>
                  <a:pt x="7519969" y="0"/>
                </a:lnTo>
                <a:lnTo>
                  <a:pt x="7519969" y="6163668"/>
                </a:lnTo>
                <a:lnTo>
                  <a:pt x="3247346" y="3998969"/>
                </a:lnTo>
                <a:lnTo>
                  <a:pt x="3260968" y="3717010"/>
                </a:lnTo>
                <a:lnTo>
                  <a:pt x="3286299" y="3191979"/>
                </a:lnTo>
                <a:lnTo>
                  <a:pt x="2624912" y="3263204"/>
                </a:lnTo>
                <a:lnTo>
                  <a:pt x="3041388" y="1978569"/>
                </a:lnTo>
                <a:lnTo>
                  <a:pt x="3568447" y="352688"/>
                </a:lnTo>
                <a:lnTo>
                  <a:pt x="4956896" y="203227"/>
                </a:lnTo>
                <a:lnTo>
                  <a:pt x="4764169" y="797763"/>
                </a:lnTo>
                <a:lnTo>
                  <a:pt x="4398289" y="1926390"/>
                </a:lnTo>
                <a:lnTo>
                  <a:pt x="7065200" y="3277555"/>
                </a:lnTo>
                <a:lnTo>
                  <a:pt x="6867445" y="2658880"/>
                </a:lnTo>
                <a:lnTo>
                  <a:pt x="6867379" y="2658880"/>
                </a:lnTo>
                <a:lnTo>
                  <a:pt x="6208637" y="59797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489B4EE-AB58-1B67-920F-E0F53870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330893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FEAFE57-5891-68F2-F447-7AB66F1408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907" y="3758116"/>
            <a:ext cx="7239024" cy="32385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/>
              <a:t>Secondary hea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3362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2">
    <p:bg>
      <p:bgPr>
        <a:gradFill>
          <a:gsLst>
            <a:gs pos="100000">
              <a:schemeClr val="bg2"/>
            </a:gs>
            <a:gs pos="0">
              <a:schemeClr val="accent1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E3788DA-DE75-41BB-6898-9B846EF6A7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95185" y="1"/>
            <a:ext cx="7696608" cy="6860279"/>
          </a:xfrm>
          <a:custGeom>
            <a:avLst/>
            <a:gdLst>
              <a:gd name="connsiteX0" fmla="*/ 1349983 w 7696608"/>
              <a:gd name="connsiteY0" fmla="*/ 4887344 h 6860279"/>
              <a:gd name="connsiteX1" fmla="*/ 1411336 w 7696608"/>
              <a:gd name="connsiteY1" fmla="*/ 5538612 h 6860279"/>
              <a:gd name="connsiteX2" fmla="*/ 685528 w 7696608"/>
              <a:gd name="connsiteY2" fmla="*/ 5948849 h 6860279"/>
              <a:gd name="connsiteX3" fmla="*/ 163126 w 7696608"/>
              <a:gd name="connsiteY3" fmla="*/ 6244095 h 6860279"/>
              <a:gd name="connsiteX4" fmla="*/ 101772 w 7696608"/>
              <a:gd name="connsiteY4" fmla="*/ 5592827 h 6860279"/>
              <a:gd name="connsiteX5" fmla="*/ 874148 w 7696608"/>
              <a:gd name="connsiteY5" fmla="*/ 5156277 h 6860279"/>
              <a:gd name="connsiteX6" fmla="*/ 3185887 w 7696608"/>
              <a:gd name="connsiteY6" fmla="*/ 4216876 h 6860279"/>
              <a:gd name="connsiteX7" fmla="*/ 3202400 w 7696608"/>
              <a:gd name="connsiteY7" fmla="*/ 4246228 h 6860279"/>
              <a:gd name="connsiteX8" fmla="*/ 3366424 w 7696608"/>
              <a:gd name="connsiteY8" fmla="*/ 4537814 h 6860279"/>
              <a:gd name="connsiteX9" fmla="*/ 3065530 w 7696608"/>
              <a:gd name="connsiteY9" fmla="*/ 4943631 h 6860279"/>
              <a:gd name="connsiteX10" fmla="*/ 2885822 w 7696608"/>
              <a:gd name="connsiteY10" fmla="*/ 5186043 h 6860279"/>
              <a:gd name="connsiteX11" fmla="*/ 2812585 w 7696608"/>
              <a:gd name="connsiteY11" fmla="*/ 5055859 h 6860279"/>
              <a:gd name="connsiteX12" fmla="*/ 2812585 w 7696608"/>
              <a:gd name="connsiteY12" fmla="*/ 5055790 h 6860279"/>
              <a:gd name="connsiteX13" fmla="*/ 2705285 w 7696608"/>
              <a:gd name="connsiteY13" fmla="*/ 4865036 h 6860279"/>
              <a:gd name="connsiteX14" fmla="*/ 7696469 w 7696608"/>
              <a:gd name="connsiteY14" fmla="*/ 2592504 h 6860279"/>
              <a:gd name="connsiteX15" fmla="*/ 7696608 w 7696608"/>
              <a:gd name="connsiteY15" fmla="*/ 2592504 h 6860279"/>
              <a:gd name="connsiteX16" fmla="*/ 7696469 w 7696608"/>
              <a:gd name="connsiteY16" fmla="*/ 2592575 h 6860279"/>
              <a:gd name="connsiteX17" fmla="*/ 4751091 w 7696608"/>
              <a:gd name="connsiteY17" fmla="*/ 0 h 6860279"/>
              <a:gd name="connsiteX18" fmla="*/ 6253973 w 7696608"/>
              <a:gd name="connsiteY18" fmla="*/ 0 h 6860279"/>
              <a:gd name="connsiteX19" fmla="*/ 6951869 w 7696608"/>
              <a:gd name="connsiteY19" fmla="*/ 624541 h 6860279"/>
              <a:gd name="connsiteX20" fmla="*/ 6301923 w 7696608"/>
              <a:gd name="connsiteY20" fmla="*/ 2657285 h 6860279"/>
              <a:gd name="connsiteX21" fmla="*/ 6057131 w 7696608"/>
              <a:gd name="connsiteY21" fmla="*/ 3422853 h 6860279"/>
              <a:gd name="connsiteX22" fmla="*/ 7696469 w 7696608"/>
              <a:gd name="connsiteY22" fmla="*/ 2592575 h 6860279"/>
              <a:gd name="connsiteX23" fmla="*/ 7696469 w 7696608"/>
              <a:gd name="connsiteY23" fmla="*/ 5365815 h 6860279"/>
              <a:gd name="connsiteX24" fmla="*/ 4745909 w 7696608"/>
              <a:gd name="connsiteY24" fmla="*/ 6860279 h 6860279"/>
              <a:gd name="connsiteX25" fmla="*/ 4670806 w 7696608"/>
              <a:gd name="connsiteY25" fmla="*/ 5304832 h 6860279"/>
              <a:gd name="connsiteX26" fmla="*/ 3414235 w 7696608"/>
              <a:gd name="connsiteY26" fmla="*/ 4180618 h 6860279"/>
              <a:gd name="connsiteX27" fmla="*/ 3749607 w 7696608"/>
              <a:gd name="connsiteY27" fmla="*/ 3131820 h 6860279"/>
              <a:gd name="connsiteX28" fmla="*/ 3471927 w 7696608"/>
              <a:gd name="connsiteY28" fmla="*/ 3310211 h 6860279"/>
              <a:gd name="connsiteX29" fmla="*/ 3099523 w 7696608"/>
              <a:gd name="connsiteY29" fmla="*/ 3549447 h 6860279"/>
              <a:gd name="connsiteX30" fmla="*/ 2990012 w 7696608"/>
              <a:gd name="connsiteY30" fmla="*/ 2827112 h 6860279"/>
              <a:gd name="connsiteX31" fmla="*/ 3720381 w 7696608"/>
              <a:gd name="connsiteY31" fmla="*/ 2357964 h 6860279"/>
              <a:gd name="connsiteX32" fmla="*/ 4068672 w 7696608"/>
              <a:gd name="connsiteY32" fmla="*/ 2134268 h 6860279"/>
              <a:gd name="connsiteX33" fmla="*/ 604829 w 7696608"/>
              <a:gd name="connsiteY33" fmla="*/ 0 h 6860279"/>
              <a:gd name="connsiteX34" fmla="*/ 2748882 w 7696608"/>
              <a:gd name="connsiteY34" fmla="*/ 0 h 6860279"/>
              <a:gd name="connsiteX35" fmla="*/ 1760249 w 7696608"/>
              <a:gd name="connsiteY35" fmla="*/ 953421 h 6860279"/>
              <a:gd name="connsiteX36" fmla="*/ 554185 w 7696608"/>
              <a:gd name="connsiteY36" fmla="*/ 2116449 h 6860279"/>
              <a:gd name="connsiteX37" fmla="*/ 0 w 7696608"/>
              <a:gd name="connsiteY37" fmla="*/ 583310 h 6860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7696608" h="6860279">
                <a:moveTo>
                  <a:pt x="1349983" y="4887344"/>
                </a:moveTo>
                <a:lnTo>
                  <a:pt x="1411336" y="5538612"/>
                </a:lnTo>
                <a:lnTo>
                  <a:pt x="685528" y="5948849"/>
                </a:lnTo>
                <a:lnTo>
                  <a:pt x="163126" y="6244095"/>
                </a:lnTo>
                <a:lnTo>
                  <a:pt x="101772" y="5592827"/>
                </a:lnTo>
                <a:lnTo>
                  <a:pt x="874148" y="5156277"/>
                </a:lnTo>
                <a:close/>
                <a:moveTo>
                  <a:pt x="3185887" y="4216876"/>
                </a:moveTo>
                <a:lnTo>
                  <a:pt x="3202400" y="4246228"/>
                </a:lnTo>
                <a:lnTo>
                  <a:pt x="3366424" y="4537814"/>
                </a:lnTo>
                <a:lnTo>
                  <a:pt x="3065530" y="4943631"/>
                </a:lnTo>
                <a:lnTo>
                  <a:pt x="2885822" y="5186043"/>
                </a:lnTo>
                <a:lnTo>
                  <a:pt x="2812585" y="5055859"/>
                </a:lnTo>
                <a:lnTo>
                  <a:pt x="2812585" y="5055790"/>
                </a:lnTo>
                <a:lnTo>
                  <a:pt x="2705285" y="4865036"/>
                </a:lnTo>
                <a:close/>
                <a:moveTo>
                  <a:pt x="7696469" y="2592504"/>
                </a:moveTo>
                <a:lnTo>
                  <a:pt x="7696608" y="2592504"/>
                </a:lnTo>
                <a:lnTo>
                  <a:pt x="7696469" y="2592575"/>
                </a:lnTo>
                <a:close/>
                <a:moveTo>
                  <a:pt x="4751091" y="0"/>
                </a:moveTo>
                <a:lnTo>
                  <a:pt x="6253973" y="0"/>
                </a:lnTo>
                <a:lnTo>
                  <a:pt x="6951869" y="624541"/>
                </a:lnTo>
                <a:lnTo>
                  <a:pt x="6301923" y="2657285"/>
                </a:lnTo>
                <a:lnTo>
                  <a:pt x="6057131" y="3422853"/>
                </a:lnTo>
                <a:lnTo>
                  <a:pt x="7696469" y="2592575"/>
                </a:lnTo>
                <a:lnTo>
                  <a:pt x="7696469" y="5365815"/>
                </a:lnTo>
                <a:lnTo>
                  <a:pt x="4745909" y="6860279"/>
                </a:lnTo>
                <a:lnTo>
                  <a:pt x="4670806" y="5304832"/>
                </a:lnTo>
                <a:lnTo>
                  <a:pt x="3414235" y="4180618"/>
                </a:lnTo>
                <a:lnTo>
                  <a:pt x="3749607" y="3131820"/>
                </a:lnTo>
                <a:lnTo>
                  <a:pt x="3471927" y="3310211"/>
                </a:lnTo>
                <a:lnTo>
                  <a:pt x="3099523" y="3549447"/>
                </a:lnTo>
                <a:lnTo>
                  <a:pt x="2990012" y="2827112"/>
                </a:lnTo>
                <a:lnTo>
                  <a:pt x="3720381" y="2357964"/>
                </a:lnTo>
                <a:lnTo>
                  <a:pt x="4068672" y="2134268"/>
                </a:lnTo>
                <a:close/>
                <a:moveTo>
                  <a:pt x="604829" y="0"/>
                </a:moveTo>
                <a:lnTo>
                  <a:pt x="2748882" y="0"/>
                </a:lnTo>
                <a:lnTo>
                  <a:pt x="1760249" y="953421"/>
                </a:lnTo>
                <a:lnTo>
                  <a:pt x="554185" y="2116449"/>
                </a:lnTo>
                <a:lnTo>
                  <a:pt x="0" y="58331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B68BBD0-59EF-E044-3130-E0FB52C10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330893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BE841F6-81B0-43AD-9FAA-09FCB34B68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907" y="3758116"/>
            <a:ext cx="7239024" cy="32385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/>
              <a:t>Secondary hea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523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3">
    <p:bg>
      <p:bgPr>
        <a:gradFill>
          <a:gsLst>
            <a:gs pos="100000">
              <a:schemeClr val="bg2"/>
            </a:gs>
            <a:gs pos="0">
              <a:schemeClr val="accent4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0D3EA405-9AA2-6DF3-26B5-065FD20DC8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816599" y="0"/>
            <a:ext cx="6375402" cy="6858000"/>
          </a:xfrm>
          <a:custGeom>
            <a:avLst/>
            <a:gdLst>
              <a:gd name="connsiteX0" fmla="*/ 1515696 w 6375402"/>
              <a:gd name="connsiteY0" fmla="*/ 6276213 h 6858000"/>
              <a:gd name="connsiteX1" fmla="*/ 2088086 w 6375402"/>
              <a:gd name="connsiteY1" fmla="*/ 6619811 h 6858000"/>
              <a:gd name="connsiteX2" fmla="*/ 2059540 w 6375402"/>
              <a:gd name="connsiteY2" fmla="*/ 6858000 h 6858000"/>
              <a:gd name="connsiteX3" fmla="*/ 1944212 w 6375402"/>
              <a:gd name="connsiteY3" fmla="*/ 6858000 h 6858000"/>
              <a:gd name="connsiteX4" fmla="*/ 1593913 w 6375402"/>
              <a:gd name="connsiteY4" fmla="*/ 6647688 h 6858000"/>
              <a:gd name="connsiteX5" fmla="*/ 1479410 w 6375402"/>
              <a:gd name="connsiteY5" fmla="*/ 6578918 h 6858000"/>
              <a:gd name="connsiteX6" fmla="*/ 902135 w 6375402"/>
              <a:gd name="connsiteY6" fmla="*/ 3720719 h 6858000"/>
              <a:gd name="connsiteX7" fmla="*/ 983588 w 6375402"/>
              <a:gd name="connsiteY7" fmla="*/ 4099941 h 6858000"/>
              <a:gd name="connsiteX8" fmla="*/ 1066817 w 6375402"/>
              <a:gd name="connsiteY8" fmla="*/ 4487482 h 6858000"/>
              <a:gd name="connsiteX9" fmla="*/ 922625 w 6375402"/>
              <a:gd name="connsiteY9" fmla="*/ 4593336 h 6858000"/>
              <a:gd name="connsiteX10" fmla="*/ 778370 w 6375402"/>
              <a:gd name="connsiteY10" fmla="*/ 4699127 h 6858000"/>
              <a:gd name="connsiteX11" fmla="*/ 683341 w 6375402"/>
              <a:gd name="connsiteY11" fmla="*/ 4256596 h 6858000"/>
              <a:gd name="connsiteX12" fmla="*/ 613751 w 6375402"/>
              <a:gd name="connsiteY12" fmla="*/ 3932365 h 6858000"/>
              <a:gd name="connsiteX13" fmla="*/ 384300 w 6375402"/>
              <a:gd name="connsiteY13" fmla="*/ 1588897 h 6858000"/>
              <a:gd name="connsiteX14" fmla="*/ 1297664 w 6375402"/>
              <a:gd name="connsiteY14" fmla="*/ 2921445 h 6858000"/>
              <a:gd name="connsiteX15" fmla="*/ 1222935 w 6375402"/>
              <a:gd name="connsiteY15" fmla="*/ 3043745 h 6858000"/>
              <a:gd name="connsiteX16" fmla="*/ 913300 w 6375402"/>
              <a:gd name="connsiteY16" fmla="*/ 3550729 h 6858000"/>
              <a:gd name="connsiteX17" fmla="*/ 0 w 6375402"/>
              <a:gd name="connsiteY17" fmla="*/ 2218183 h 6858000"/>
              <a:gd name="connsiteX18" fmla="*/ 102641 w 6375402"/>
              <a:gd name="connsiteY18" fmla="*/ 2050098 h 6858000"/>
              <a:gd name="connsiteX19" fmla="*/ 1901455 w 6375402"/>
              <a:gd name="connsiteY19" fmla="*/ 1476439 h 6858000"/>
              <a:gd name="connsiteX20" fmla="*/ 2573060 w 6375402"/>
              <a:gd name="connsiteY20" fmla="*/ 2145729 h 6858000"/>
              <a:gd name="connsiteX21" fmla="*/ 2483551 w 6375402"/>
              <a:gd name="connsiteY21" fmla="*/ 2382075 h 6858000"/>
              <a:gd name="connsiteX22" fmla="*/ 2419734 w 6375402"/>
              <a:gd name="connsiteY22" fmla="*/ 2550604 h 6858000"/>
              <a:gd name="connsiteX23" fmla="*/ 1749587 w 6375402"/>
              <a:gd name="connsiteY23" fmla="*/ 1882712 h 6858000"/>
              <a:gd name="connsiteX24" fmla="*/ 1748128 w 6375402"/>
              <a:gd name="connsiteY24" fmla="*/ 1881252 h 6858000"/>
              <a:gd name="connsiteX25" fmla="*/ 6375402 w 6375402"/>
              <a:gd name="connsiteY25" fmla="*/ 983085 h 6858000"/>
              <a:gd name="connsiteX26" fmla="*/ 6375402 w 6375402"/>
              <a:gd name="connsiteY26" fmla="*/ 2876592 h 6858000"/>
              <a:gd name="connsiteX27" fmla="*/ 6273140 w 6375402"/>
              <a:gd name="connsiteY27" fmla="*/ 2903855 h 6858000"/>
              <a:gd name="connsiteX28" fmla="*/ 5935402 w 6375402"/>
              <a:gd name="connsiteY28" fmla="*/ 4240212 h 6858000"/>
              <a:gd name="connsiteX29" fmla="*/ 5597665 w 6375402"/>
              <a:gd name="connsiteY29" fmla="*/ 5576506 h 6858000"/>
              <a:gd name="connsiteX30" fmla="*/ 5246732 w 6375402"/>
              <a:gd name="connsiteY30" fmla="*/ 5637847 h 6858000"/>
              <a:gd name="connsiteX31" fmla="*/ 4895863 w 6375402"/>
              <a:gd name="connsiteY31" fmla="*/ 5699188 h 6858000"/>
              <a:gd name="connsiteX32" fmla="*/ 4632537 w 6375402"/>
              <a:gd name="connsiteY32" fmla="*/ 6821233 h 6858000"/>
              <a:gd name="connsiteX33" fmla="*/ 4441402 w 6375402"/>
              <a:gd name="connsiteY33" fmla="*/ 6858000 h 6858000"/>
              <a:gd name="connsiteX34" fmla="*/ 3552779 w 6375402"/>
              <a:gd name="connsiteY34" fmla="*/ 6858000 h 6858000"/>
              <a:gd name="connsiteX35" fmla="*/ 3660938 w 6375402"/>
              <a:gd name="connsiteY35" fmla="*/ 6397244 h 6858000"/>
              <a:gd name="connsiteX36" fmla="*/ 2670753 w 6375402"/>
              <a:gd name="connsiteY36" fmla="*/ 6858000 h 6858000"/>
              <a:gd name="connsiteX37" fmla="*/ 2264250 w 6375402"/>
              <a:gd name="connsiteY37" fmla="*/ 6858000 h 6858000"/>
              <a:gd name="connsiteX38" fmla="*/ 2233420 w 6375402"/>
              <a:gd name="connsiteY38" fmla="*/ 4713478 h 6858000"/>
              <a:gd name="connsiteX39" fmla="*/ 2207284 w 6375402"/>
              <a:gd name="connsiteY39" fmla="*/ 2895346 h 6858000"/>
              <a:gd name="connsiteX40" fmla="*/ 3395265 w 6375402"/>
              <a:gd name="connsiteY40" fmla="*/ 2342578 h 6858000"/>
              <a:gd name="connsiteX41" fmla="*/ 3923504 w 6375402"/>
              <a:gd name="connsiteY41" fmla="*/ 2096770 h 6858000"/>
              <a:gd name="connsiteX42" fmla="*/ 3966577 w 6375402"/>
              <a:gd name="connsiteY42" fmla="*/ 5094859 h 6858000"/>
              <a:gd name="connsiteX43" fmla="*/ 3966640 w 6375402"/>
              <a:gd name="connsiteY43" fmla="*/ 5094795 h 6858000"/>
              <a:gd name="connsiteX44" fmla="*/ 3966640 w 6375402"/>
              <a:gd name="connsiteY44" fmla="*/ 5094859 h 6858000"/>
              <a:gd name="connsiteX45" fmla="*/ 4083174 w 6375402"/>
              <a:gd name="connsiteY45" fmla="*/ 4598098 h 6858000"/>
              <a:gd name="connsiteX46" fmla="*/ 4426494 w 6375402"/>
              <a:gd name="connsiteY46" fmla="*/ 4531995 h 6858000"/>
              <a:gd name="connsiteX47" fmla="*/ 4915275 w 6375402"/>
              <a:gd name="connsiteY47" fmla="*/ 2598102 h 6858000"/>
              <a:gd name="connsiteX48" fmla="*/ 5313912 w 6375402"/>
              <a:gd name="connsiteY48" fmla="*/ 2528379 h 6858000"/>
              <a:gd name="connsiteX49" fmla="*/ 5912882 w 6375402"/>
              <a:gd name="connsiteY49" fmla="*/ 2423668 h 6858000"/>
              <a:gd name="connsiteX50" fmla="*/ 6037282 w 6375402"/>
              <a:gd name="connsiteY50" fmla="*/ 1652460 h 6858000"/>
              <a:gd name="connsiteX51" fmla="*/ 6134911 w 6375402"/>
              <a:gd name="connsiteY51" fmla="*/ 1047305 h 6858000"/>
              <a:gd name="connsiteX52" fmla="*/ 4754779 w 6375402"/>
              <a:gd name="connsiteY52" fmla="*/ 1 h 6858000"/>
              <a:gd name="connsiteX53" fmla="*/ 5687998 w 6375402"/>
              <a:gd name="connsiteY53" fmla="*/ 1 h 6858000"/>
              <a:gd name="connsiteX54" fmla="*/ 5335099 w 6375402"/>
              <a:gd name="connsiteY54" fmla="*/ 1864171 h 6858000"/>
              <a:gd name="connsiteX55" fmla="*/ 4357855 w 6375402"/>
              <a:gd name="connsiteY55" fmla="*/ 2096771 h 6858000"/>
              <a:gd name="connsiteX56" fmla="*/ 107588 w 6375402"/>
              <a:gd name="connsiteY56" fmla="*/ 0 h 6858000"/>
              <a:gd name="connsiteX57" fmla="*/ 2582956 w 6375402"/>
              <a:gd name="connsiteY57" fmla="*/ 0 h 6858000"/>
              <a:gd name="connsiteX58" fmla="*/ 2898745 w 6375402"/>
              <a:gd name="connsiteY58" fmla="*/ 258953 h 6858000"/>
              <a:gd name="connsiteX59" fmla="*/ 2792742 w 6375402"/>
              <a:gd name="connsiteY59" fmla="*/ 649034 h 6858000"/>
              <a:gd name="connsiteX60" fmla="*/ 2447772 w 6375402"/>
              <a:gd name="connsiteY60" fmla="*/ 1918781 h 6858000"/>
              <a:gd name="connsiteX61" fmla="*/ 2105594 w 6375402"/>
              <a:gd name="connsiteY61" fmla="*/ 163823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6375402" h="6858000">
                <a:moveTo>
                  <a:pt x="1515696" y="6276213"/>
                </a:moveTo>
                <a:lnTo>
                  <a:pt x="2088086" y="6619811"/>
                </a:lnTo>
                <a:lnTo>
                  <a:pt x="2059540" y="6858000"/>
                </a:lnTo>
                <a:lnTo>
                  <a:pt x="1944212" y="6858000"/>
                </a:lnTo>
                <a:lnTo>
                  <a:pt x="1593913" y="6647688"/>
                </a:lnTo>
                <a:lnTo>
                  <a:pt x="1479410" y="6578918"/>
                </a:lnTo>
                <a:close/>
                <a:moveTo>
                  <a:pt x="902135" y="3720719"/>
                </a:moveTo>
                <a:lnTo>
                  <a:pt x="983588" y="4099941"/>
                </a:lnTo>
                <a:lnTo>
                  <a:pt x="1066817" y="4487482"/>
                </a:lnTo>
                <a:lnTo>
                  <a:pt x="922625" y="4593336"/>
                </a:lnTo>
                <a:lnTo>
                  <a:pt x="778370" y="4699127"/>
                </a:lnTo>
                <a:lnTo>
                  <a:pt x="683341" y="4256596"/>
                </a:lnTo>
                <a:lnTo>
                  <a:pt x="613751" y="3932365"/>
                </a:lnTo>
                <a:close/>
                <a:moveTo>
                  <a:pt x="384300" y="1588897"/>
                </a:moveTo>
                <a:lnTo>
                  <a:pt x="1297664" y="2921445"/>
                </a:lnTo>
                <a:lnTo>
                  <a:pt x="1222935" y="3043745"/>
                </a:lnTo>
                <a:lnTo>
                  <a:pt x="913300" y="3550729"/>
                </a:lnTo>
                <a:lnTo>
                  <a:pt x="0" y="2218183"/>
                </a:lnTo>
                <a:lnTo>
                  <a:pt x="102641" y="2050098"/>
                </a:lnTo>
                <a:close/>
                <a:moveTo>
                  <a:pt x="1901455" y="1476439"/>
                </a:moveTo>
                <a:lnTo>
                  <a:pt x="2573060" y="2145729"/>
                </a:lnTo>
                <a:lnTo>
                  <a:pt x="2483551" y="2382075"/>
                </a:lnTo>
                <a:lnTo>
                  <a:pt x="2419734" y="2550604"/>
                </a:lnTo>
                <a:lnTo>
                  <a:pt x="1749587" y="1882712"/>
                </a:lnTo>
                <a:lnTo>
                  <a:pt x="1748128" y="1881252"/>
                </a:lnTo>
                <a:close/>
                <a:moveTo>
                  <a:pt x="6375402" y="983085"/>
                </a:moveTo>
                <a:lnTo>
                  <a:pt x="6375402" y="2876592"/>
                </a:lnTo>
                <a:lnTo>
                  <a:pt x="6273140" y="2903855"/>
                </a:lnTo>
                <a:lnTo>
                  <a:pt x="5935402" y="4240212"/>
                </a:lnTo>
                <a:lnTo>
                  <a:pt x="5597665" y="5576506"/>
                </a:lnTo>
                <a:lnTo>
                  <a:pt x="5246732" y="5637847"/>
                </a:lnTo>
                <a:lnTo>
                  <a:pt x="4895863" y="5699188"/>
                </a:lnTo>
                <a:lnTo>
                  <a:pt x="4632537" y="6821233"/>
                </a:lnTo>
                <a:lnTo>
                  <a:pt x="4441402" y="6858000"/>
                </a:lnTo>
                <a:lnTo>
                  <a:pt x="3552779" y="6858000"/>
                </a:lnTo>
                <a:lnTo>
                  <a:pt x="3660938" y="6397244"/>
                </a:lnTo>
                <a:lnTo>
                  <a:pt x="2670753" y="6858000"/>
                </a:lnTo>
                <a:lnTo>
                  <a:pt x="2264250" y="6858000"/>
                </a:lnTo>
                <a:lnTo>
                  <a:pt x="2233420" y="4713478"/>
                </a:lnTo>
                <a:lnTo>
                  <a:pt x="2207284" y="2895346"/>
                </a:lnTo>
                <a:lnTo>
                  <a:pt x="3395265" y="2342578"/>
                </a:lnTo>
                <a:lnTo>
                  <a:pt x="3923504" y="2096770"/>
                </a:lnTo>
                <a:lnTo>
                  <a:pt x="3966577" y="5094859"/>
                </a:lnTo>
                <a:lnTo>
                  <a:pt x="3966640" y="5094795"/>
                </a:lnTo>
                <a:lnTo>
                  <a:pt x="3966640" y="5094859"/>
                </a:lnTo>
                <a:lnTo>
                  <a:pt x="4083174" y="4598098"/>
                </a:lnTo>
                <a:lnTo>
                  <a:pt x="4426494" y="4531995"/>
                </a:lnTo>
                <a:lnTo>
                  <a:pt x="4915275" y="2598102"/>
                </a:lnTo>
                <a:lnTo>
                  <a:pt x="5313912" y="2528379"/>
                </a:lnTo>
                <a:lnTo>
                  <a:pt x="5912882" y="2423668"/>
                </a:lnTo>
                <a:lnTo>
                  <a:pt x="6037282" y="1652460"/>
                </a:lnTo>
                <a:lnTo>
                  <a:pt x="6134911" y="1047305"/>
                </a:lnTo>
                <a:close/>
                <a:moveTo>
                  <a:pt x="4754779" y="1"/>
                </a:moveTo>
                <a:lnTo>
                  <a:pt x="5687998" y="1"/>
                </a:lnTo>
                <a:lnTo>
                  <a:pt x="5335099" y="1864171"/>
                </a:lnTo>
                <a:lnTo>
                  <a:pt x="4357855" y="2096771"/>
                </a:lnTo>
                <a:close/>
                <a:moveTo>
                  <a:pt x="107588" y="0"/>
                </a:moveTo>
                <a:lnTo>
                  <a:pt x="2582956" y="0"/>
                </a:lnTo>
                <a:lnTo>
                  <a:pt x="2898745" y="258953"/>
                </a:lnTo>
                <a:lnTo>
                  <a:pt x="2792742" y="649034"/>
                </a:lnTo>
                <a:lnTo>
                  <a:pt x="2447772" y="1918781"/>
                </a:lnTo>
                <a:lnTo>
                  <a:pt x="2105594" y="163823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1F5DD3E-9084-57CA-934F-DACFD96A6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330893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E7D8B52-3B12-98D4-87C7-1483DE307E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907" y="3758116"/>
            <a:ext cx="7239024" cy="32385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/>
              <a:t>Secondary hea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2867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4">
    <p:bg>
      <p:bgPr>
        <a:gradFill>
          <a:gsLst>
            <a:gs pos="100000">
              <a:schemeClr val="accent1"/>
            </a:gs>
            <a:gs pos="0">
              <a:schemeClr val="accent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446C7FB5-39AD-8C0E-E87A-EE4C44161CA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72032" y="1"/>
            <a:ext cx="7519969" cy="6857603"/>
          </a:xfrm>
          <a:custGeom>
            <a:avLst/>
            <a:gdLst>
              <a:gd name="connsiteX0" fmla="*/ 3362094 w 7519969"/>
              <a:gd name="connsiteY0" fmla="*/ 5329533 h 6857603"/>
              <a:gd name="connsiteX1" fmla="*/ 3220954 w 7519969"/>
              <a:gd name="connsiteY1" fmla="*/ 6178219 h 6857603"/>
              <a:gd name="connsiteX2" fmla="*/ 3134643 w 7519969"/>
              <a:gd name="connsiteY2" fmla="*/ 6697363 h 6857603"/>
              <a:gd name="connsiteX3" fmla="*/ 2522397 w 7519969"/>
              <a:gd name="connsiteY3" fmla="*/ 6857603 h 6857603"/>
              <a:gd name="connsiteX4" fmla="*/ 2522400 w 7519969"/>
              <a:gd name="connsiteY4" fmla="*/ 6857585 h 6857603"/>
              <a:gd name="connsiteX5" fmla="*/ 2749848 w 7519969"/>
              <a:gd name="connsiteY5" fmla="*/ 5489773 h 6857603"/>
              <a:gd name="connsiteX6" fmla="*/ 3362014 w 7519969"/>
              <a:gd name="connsiteY6" fmla="*/ 5329554 h 6857603"/>
              <a:gd name="connsiteX7" fmla="*/ 3747484 w 7519969"/>
              <a:gd name="connsiteY7" fmla="*/ 4865609 h 6857603"/>
              <a:gd name="connsiteX8" fmla="*/ 4207524 w 7519969"/>
              <a:gd name="connsiteY8" fmla="*/ 5486240 h 6857603"/>
              <a:gd name="connsiteX9" fmla="*/ 4207545 w 7519969"/>
              <a:gd name="connsiteY9" fmla="*/ 5486268 h 6857603"/>
              <a:gd name="connsiteX10" fmla="*/ 4117530 w 7519969"/>
              <a:gd name="connsiteY10" fmla="*/ 5646310 h 6857603"/>
              <a:gd name="connsiteX11" fmla="*/ 4034725 w 7519969"/>
              <a:gd name="connsiteY11" fmla="*/ 5793588 h 6857603"/>
              <a:gd name="connsiteX12" fmla="*/ 3574664 w 7519969"/>
              <a:gd name="connsiteY12" fmla="*/ 5172996 h 6857603"/>
              <a:gd name="connsiteX13" fmla="*/ 3574685 w 7519969"/>
              <a:gd name="connsiteY13" fmla="*/ 5172959 h 6857603"/>
              <a:gd name="connsiteX14" fmla="*/ 3247344 w 7519969"/>
              <a:gd name="connsiteY14" fmla="*/ 3999001 h 6857603"/>
              <a:gd name="connsiteX15" fmla="*/ 7519969 w 7519969"/>
              <a:gd name="connsiteY15" fmla="*/ 6163668 h 6857603"/>
              <a:gd name="connsiteX16" fmla="*/ 7519969 w 7519969"/>
              <a:gd name="connsiteY16" fmla="*/ 6163700 h 6857603"/>
              <a:gd name="connsiteX17" fmla="*/ 3247278 w 7519969"/>
              <a:gd name="connsiteY17" fmla="*/ 3998935 h 6857603"/>
              <a:gd name="connsiteX18" fmla="*/ 3247346 w 7519969"/>
              <a:gd name="connsiteY18" fmla="*/ 3998969 h 6857603"/>
              <a:gd name="connsiteX19" fmla="*/ 3247344 w 7519969"/>
              <a:gd name="connsiteY19" fmla="*/ 3999001 h 6857603"/>
              <a:gd name="connsiteX20" fmla="*/ 728187 w 7519969"/>
              <a:gd name="connsiteY20" fmla="*/ 1273128 h 6857603"/>
              <a:gd name="connsiteX21" fmla="*/ 1947520 w 7519969"/>
              <a:gd name="connsiteY21" fmla="*/ 3566557 h 6857603"/>
              <a:gd name="connsiteX22" fmla="*/ 1576151 w 7519969"/>
              <a:gd name="connsiteY22" fmla="*/ 4043641 h 6857603"/>
              <a:gd name="connsiteX23" fmla="*/ 1219333 w 7519969"/>
              <a:gd name="connsiteY23" fmla="*/ 4502009 h 6857603"/>
              <a:gd name="connsiteX24" fmla="*/ 93322 w 7519969"/>
              <a:gd name="connsiteY24" fmla="*/ 2384098 h 6857603"/>
              <a:gd name="connsiteX25" fmla="*/ 0 w 7519969"/>
              <a:gd name="connsiteY25" fmla="*/ 2208580 h 6857603"/>
              <a:gd name="connsiteX26" fmla="*/ 461450 w 7519969"/>
              <a:gd name="connsiteY26" fmla="*/ 1615763 h 6857603"/>
              <a:gd name="connsiteX27" fmla="*/ 461450 w 7519969"/>
              <a:gd name="connsiteY27" fmla="*/ 1615830 h 6857603"/>
              <a:gd name="connsiteX28" fmla="*/ 2373850 w 7519969"/>
              <a:gd name="connsiteY28" fmla="*/ 347000 h 6857603"/>
              <a:gd name="connsiteX29" fmla="*/ 2592372 w 7519969"/>
              <a:gd name="connsiteY29" fmla="*/ 567554 h 6857603"/>
              <a:gd name="connsiteX30" fmla="*/ 2761753 w 7519969"/>
              <a:gd name="connsiteY30" fmla="*/ 738508 h 6857603"/>
              <a:gd name="connsiteX31" fmla="*/ 2670945 w 7519969"/>
              <a:gd name="connsiteY31" fmla="*/ 973082 h 6857603"/>
              <a:gd name="connsiteX32" fmla="*/ 2283042 w 7519969"/>
              <a:gd name="connsiteY32" fmla="*/ 581574 h 6857603"/>
              <a:gd name="connsiteX33" fmla="*/ 2373832 w 7519969"/>
              <a:gd name="connsiteY33" fmla="*/ 347048 h 6857603"/>
              <a:gd name="connsiteX34" fmla="*/ 6876770 w 7519969"/>
              <a:gd name="connsiteY34" fmla="*/ 0 h 6857603"/>
              <a:gd name="connsiteX35" fmla="*/ 6208704 w 7519969"/>
              <a:gd name="connsiteY35" fmla="*/ 597975 h 6857603"/>
              <a:gd name="connsiteX36" fmla="*/ 6876837 w 7519969"/>
              <a:gd name="connsiteY36" fmla="*/ 0 h 6857603"/>
              <a:gd name="connsiteX37" fmla="*/ 7519969 w 7519969"/>
              <a:gd name="connsiteY37" fmla="*/ 0 h 6857603"/>
              <a:gd name="connsiteX38" fmla="*/ 7519969 w 7519969"/>
              <a:gd name="connsiteY38" fmla="*/ 6163668 h 6857603"/>
              <a:gd name="connsiteX39" fmla="*/ 3247346 w 7519969"/>
              <a:gd name="connsiteY39" fmla="*/ 3998969 h 6857603"/>
              <a:gd name="connsiteX40" fmla="*/ 3260968 w 7519969"/>
              <a:gd name="connsiteY40" fmla="*/ 3717010 h 6857603"/>
              <a:gd name="connsiteX41" fmla="*/ 3286299 w 7519969"/>
              <a:gd name="connsiteY41" fmla="*/ 3191979 h 6857603"/>
              <a:gd name="connsiteX42" fmla="*/ 2624912 w 7519969"/>
              <a:gd name="connsiteY42" fmla="*/ 3263204 h 6857603"/>
              <a:gd name="connsiteX43" fmla="*/ 3041388 w 7519969"/>
              <a:gd name="connsiteY43" fmla="*/ 1978569 h 6857603"/>
              <a:gd name="connsiteX44" fmla="*/ 3568447 w 7519969"/>
              <a:gd name="connsiteY44" fmla="*/ 352688 h 6857603"/>
              <a:gd name="connsiteX45" fmla="*/ 4956896 w 7519969"/>
              <a:gd name="connsiteY45" fmla="*/ 203227 h 6857603"/>
              <a:gd name="connsiteX46" fmla="*/ 4764169 w 7519969"/>
              <a:gd name="connsiteY46" fmla="*/ 797763 h 6857603"/>
              <a:gd name="connsiteX47" fmla="*/ 4398289 w 7519969"/>
              <a:gd name="connsiteY47" fmla="*/ 1926390 h 6857603"/>
              <a:gd name="connsiteX48" fmla="*/ 7065200 w 7519969"/>
              <a:gd name="connsiteY48" fmla="*/ 3277555 h 6857603"/>
              <a:gd name="connsiteX49" fmla="*/ 6867445 w 7519969"/>
              <a:gd name="connsiteY49" fmla="*/ 2658880 h 6857603"/>
              <a:gd name="connsiteX50" fmla="*/ 6867379 w 7519969"/>
              <a:gd name="connsiteY50" fmla="*/ 2658880 h 6857603"/>
              <a:gd name="connsiteX51" fmla="*/ 6208637 w 7519969"/>
              <a:gd name="connsiteY51" fmla="*/ 597975 h 6857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7519969" h="6857603">
                <a:moveTo>
                  <a:pt x="3362094" y="5329533"/>
                </a:moveTo>
                <a:lnTo>
                  <a:pt x="3220954" y="6178219"/>
                </a:lnTo>
                <a:lnTo>
                  <a:pt x="3134643" y="6697363"/>
                </a:lnTo>
                <a:lnTo>
                  <a:pt x="2522397" y="6857603"/>
                </a:lnTo>
                <a:lnTo>
                  <a:pt x="2522400" y="6857585"/>
                </a:lnTo>
                <a:lnTo>
                  <a:pt x="2749848" y="5489773"/>
                </a:lnTo>
                <a:lnTo>
                  <a:pt x="3362014" y="5329554"/>
                </a:lnTo>
                <a:close/>
                <a:moveTo>
                  <a:pt x="3747484" y="4865609"/>
                </a:moveTo>
                <a:lnTo>
                  <a:pt x="4207524" y="5486240"/>
                </a:lnTo>
                <a:lnTo>
                  <a:pt x="4207545" y="5486268"/>
                </a:lnTo>
                <a:lnTo>
                  <a:pt x="4117530" y="5646310"/>
                </a:lnTo>
                <a:lnTo>
                  <a:pt x="4034725" y="5793588"/>
                </a:lnTo>
                <a:lnTo>
                  <a:pt x="3574664" y="5172996"/>
                </a:lnTo>
                <a:lnTo>
                  <a:pt x="3574685" y="5172959"/>
                </a:lnTo>
                <a:close/>
                <a:moveTo>
                  <a:pt x="3247344" y="3999001"/>
                </a:moveTo>
                <a:lnTo>
                  <a:pt x="7519969" y="6163668"/>
                </a:lnTo>
                <a:lnTo>
                  <a:pt x="7519969" y="6163700"/>
                </a:lnTo>
                <a:close/>
                <a:moveTo>
                  <a:pt x="3247278" y="3998935"/>
                </a:moveTo>
                <a:lnTo>
                  <a:pt x="3247346" y="3998969"/>
                </a:lnTo>
                <a:lnTo>
                  <a:pt x="3247344" y="3999001"/>
                </a:lnTo>
                <a:close/>
                <a:moveTo>
                  <a:pt x="728187" y="1273128"/>
                </a:moveTo>
                <a:lnTo>
                  <a:pt x="1947520" y="3566557"/>
                </a:lnTo>
                <a:lnTo>
                  <a:pt x="1576151" y="4043641"/>
                </a:lnTo>
                <a:lnTo>
                  <a:pt x="1219333" y="4502009"/>
                </a:lnTo>
                <a:lnTo>
                  <a:pt x="93322" y="2384098"/>
                </a:lnTo>
                <a:lnTo>
                  <a:pt x="0" y="2208580"/>
                </a:lnTo>
                <a:lnTo>
                  <a:pt x="461450" y="1615763"/>
                </a:lnTo>
                <a:lnTo>
                  <a:pt x="461450" y="1615830"/>
                </a:lnTo>
                <a:close/>
                <a:moveTo>
                  <a:pt x="2373850" y="347000"/>
                </a:moveTo>
                <a:lnTo>
                  <a:pt x="2592372" y="567554"/>
                </a:lnTo>
                <a:lnTo>
                  <a:pt x="2761753" y="738508"/>
                </a:lnTo>
                <a:lnTo>
                  <a:pt x="2670945" y="973082"/>
                </a:lnTo>
                <a:lnTo>
                  <a:pt x="2283042" y="581574"/>
                </a:lnTo>
                <a:lnTo>
                  <a:pt x="2373832" y="347048"/>
                </a:lnTo>
                <a:close/>
                <a:moveTo>
                  <a:pt x="6876770" y="0"/>
                </a:moveTo>
                <a:lnTo>
                  <a:pt x="6208704" y="597975"/>
                </a:lnTo>
                <a:lnTo>
                  <a:pt x="6876837" y="0"/>
                </a:lnTo>
                <a:lnTo>
                  <a:pt x="7519969" y="0"/>
                </a:lnTo>
                <a:lnTo>
                  <a:pt x="7519969" y="6163668"/>
                </a:lnTo>
                <a:lnTo>
                  <a:pt x="3247346" y="3998969"/>
                </a:lnTo>
                <a:lnTo>
                  <a:pt x="3260968" y="3717010"/>
                </a:lnTo>
                <a:lnTo>
                  <a:pt x="3286299" y="3191979"/>
                </a:lnTo>
                <a:lnTo>
                  <a:pt x="2624912" y="3263204"/>
                </a:lnTo>
                <a:lnTo>
                  <a:pt x="3041388" y="1978569"/>
                </a:lnTo>
                <a:lnTo>
                  <a:pt x="3568447" y="352688"/>
                </a:lnTo>
                <a:lnTo>
                  <a:pt x="4956896" y="203227"/>
                </a:lnTo>
                <a:lnTo>
                  <a:pt x="4764169" y="797763"/>
                </a:lnTo>
                <a:lnTo>
                  <a:pt x="4398289" y="1926390"/>
                </a:lnTo>
                <a:lnTo>
                  <a:pt x="7065200" y="3277555"/>
                </a:lnTo>
                <a:lnTo>
                  <a:pt x="6867445" y="2658880"/>
                </a:lnTo>
                <a:lnTo>
                  <a:pt x="6867379" y="2658880"/>
                </a:lnTo>
                <a:lnTo>
                  <a:pt x="6208637" y="59797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7F1C92F-FBB3-D752-4F65-06141650B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330893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0E86F6E-0AEE-8488-A8BE-6A321E9307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907" y="3758116"/>
            <a:ext cx="7239024" cy="32385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/>
              <a:t>Secondary hea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6698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5">
    <p:bg>
      <p:bgPr>
        <a:gradFill>
          <a:gsLst>
            <a:gs pos="100000">
              <a:schemeClr val="tx2"/>
            </a:gs>
            <a:gs pos="0">
              <a:schemeClr val="accent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4B47816-320C-698C-851B-8495FA7D6B3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95185" y="1"/>
            <a:ext cx="7696608" cy="6860279"/>
          </a:xfrm>
          <a:custGeom>
            <a:avLst/>
            <a:gdLst>
              <a:gd name="connsiteX0" fmla="*/ 1349983 w 7696608"/>
              <a:gd name="connsiteY0" fmla="*/ 4887344 h 6860279"/>
              <a:gd name="connsiteX1" fmla="*/ 1411336 w 7696608"/>
              <a:gd name="connsiteY1" fmla="*/ 5538612 h 6860279"/>
              <a:gd name="connsiteX2" fmla="*/ 685528 w 7696608"/>
              <a:gd name="connsiteY2" fmla="*/ 5948849 h 6860279"/>
              <a:gd name="connsiteX3" fmla="*/ 163126 w 7696608"/>
              <a:gd name="connsiteY3" fmla="*/ 6244095 h 6860279"/>
              <a:gd name="connsiteX4" fmla="*/ 101772 w 7696608"/>
              <a:gd name="connsiteY4" fmla="*/ 5592827 h 6860279"/>
              <a:gd name="connsiteX5" fmla="*/ 874148 w 7696608"/>
              <a:gd name="connsiteY5" fmla="*/ 5156277 h 6860279"/>
              <a:gd name="connsiteX6" fmla="*/ 3185887 w 7696608"/>
              <a:gd name="connsiteY6" fmla="*/ 4216876 h 6860279"/>
              <a:gd name="connsiteX7" fmla="*/ 3202400 w 7696608"/>
              <a:gd name="connsiteY7" fmla="*/ 4246228 h 6860279"/>
              <a:gd name="connsiteX8" fmla="*/ 3366424 w 7696608"/>
              <a:gd name="connsiteY8" fmla="*/ 4537814 h 6860279"/>
              <a:gd name="connsiteX9" fmla="*/ 3065530 w 7696608"/>
              <a:gd name="connsiteY9" fmla="*/ 4943631 h 6860279"/>
              <a:gd name="connsiteX10" fmla="*/ 2885822 w 7696608"/>
              <a:gd name="connsiteY10" fmla="*/ 5186043 h 6860279"/>
              <a:gd name="connsiteX11" fmla="*/ 2812585 w 7696608"/>
              <a:gd name="connsiteY11" fmla="*/ 5055859 h 6860279"/>
              <a:gd name="connsiteX12" fmla="*/ 2812585 w 7696608"/>
              <a:gd name="connsiteY12" fmla="*/ 5055790 h 6860279"/>
              <a:gd name="connsiteX13" fmla="*/ 2705285 w 7696608"/>
              <a:gd name="connsiteY13" fmla="*/ 4865036 h 6860279"/>
              <a:gd name="connsiteX14" fmla="*/ 7696469 w 7696608"/>
              <a:gd name="connsiteY14" fmla="*/ 2592504 h 6860279"/>
              <a:gd name="connsiteX15" fmla="*/ 7696608 w 7696608"/>
              <a:gd name="connsiteY15" fmla="*/ 2592504 h 6860279"/>
              <a:gd name="connsiteX16" fmla="*/ 7696469 w 7696608"/>
              <a:gd name="connsiteY16" fmla="*/ 2592575 h 6860279"/>
              <a:gd name="connsiteX17" fmla="*/ 4751091 w 7696608"/>
              <a:gd name="connsiteY17" fmla="*/ 0 h 6860279"/>
              <a:gd name="connsiteX18" fmla="*/ 6253973 w 7696608"/>
              <a:gd name="connsiteY18" fmla="*/ 0 h 6860279"/>
              <a:gd name="connsiteX19" fmla="*/ 6951869 w 7696608"/>
              <a:gd name="connsiteY19" fmla="*/ 624541 h 6860279"/>
              <a:gd name="connsiteX20" fmla="*/ 6301923 w 7696608"/>
              <a:gd name="connsiteY20" fmla="*/ 2657285 h 6860279"/>
              <a:gd name="connsiteX21" fmla="*/ 6057131 w 7696608"/>
              <a:gd name="connsiteY21" fmla="*/ 3422853 h 6860279"/>
              <a:gd name="connsiteX22" fmla="*/ 7696469 w 7696608"/>
              <a:gd name="connsiteY22" fmla="*/ 2592575 h 6860279"/>
              <a:gd name="connsiteX23" fmla="*/ 7696469 w 7696608"/>
              <a:gd name="connsiteY23" fmla="*/ 5365815 h 6860279"/>
              <a:gd name="connsiteX24" fmla="*/ 4745909 w 7696608"/>
              <a:gd name="connsiteY24" fmla="*/ 6860279 h 6860279"/>
              <a:gd name="connsiteX25" fmla="*/ 4670806 w 7696608"/>
              <a:gd name="connsiteY25" fmla="*/ 5304832 h 6860279"/>
              <a:gd name="connsiteX26" fmla="*/ 3414235 w 7696608"/>
              <a:gd name="connsiteY26" fmla="*/ 4180618 h 6860279"/>
              <a:gd name="connsiteX27" fmla="*/ 3749607 w 7696608"/>
              <a:gd name="connsiteY27" fmla="*/ 3131820 h 6860279"/>
              <a:gd name="connsiteX28" fmla="*/ 3471927 w 7696608"/>
              <a:gd name="connsiteY28" fmla="*/ 3310211 h 6860279"/>
              <a:gd name="connsiteX29" fmla="*/ 3099523 w 7696608"/>
              <a:gd name="connsiteY29" fmla="*/ 3549447 h 6860279"/>
              <a:gd name="connsiteX30" fmla="*/ 2990012 w 7696608"/>
              <a:gd name="connsiteY30" fmla="*/ 2827112 h 6860279"/>
              <a:gd name="connsiteX31" fmla="*/ 3720381 w 7696608"/>
              <a:gd name="connsiteY31" fmla="*/ 2357964 h 6860279"/>
              <a:gd name="connsiteX32" fmla="*/ 4068672 w 7696608"/>
              <a:gd name="connsiteY32" fmla="*/ 2134268 h 6860279"/>
              <a:gd name="connsiteX33" fmla="*/ 604829 w 7696608"/>
              <a:gd name="connsiteY33" fmla="*/ 0 h 6860279"/>
              <a:gd name="connsiteX34" fmla="*/ 2748882 w 7696608"/>
              <a:gd name="connsiteY34" fmla="*/ 0 h 6860279"/>
              <a:gd name="connsiteX35" fmla="*/ 1760249 w 7696608"/>
              <a:gd name="connsiteY35" fmla="*/ 953421 h 6860279"/>
              <a:gd name="connsiteX36" fmla="*/ 554185 w 7696608"/>
              <a:gd name="connsiteY36" fmla="*/ 2116449 h 6860279"/>
              <a:gd name="connsiteX37" fmla="*/ 0 w 7696608"/>
              <a:gd name="connsiteY37" fmla="*/ 583310 h 6860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7696608" h="6860279">
                <a:moveTo>
                  <a:pt x="1349983" y="4887344"/>
                </a:moveTo>
                <a:lnTo>
                  <a:pt x="1411336" y="5538612"/>
                </a:lnTo>
                <a:lnTo>
                  <a:pt x="685528" y="5948849"/>
                </a:lnTo>
                <a:lnTo>
                  <a:pt x="163126" y="6244095"/>
                </a:lnTo>
                <a:lnTo>
                  <a:pt x="101772" y="5592827"/>
                </a:lnTo>
                <a:lnTo>
                  <a:pt x="874148" y="5156277"/>
                </a:lnTo>
                <a:close/>
                <a:moveTo>
                  <a:pt x="3185887" y="4216876"/>
                </a:moveTo>
                <a:lnTo>
                  <a:pt x="3202400" y="4246228"/>
                </a:lnTo>
                <a:lnTo>
                  <a:pt x="3366424" y="4537814"/>
                </a:lnTo>
                <a:lnTo>
                  <a:pt x="3065530" y="4943631"/>
                </a:lnTo>
                <a:lnTo>
                  <a:pt x="2885822" y="5186043"/>
                </a:lnTo>
                <a:lnTo>
                  <a:pt x="2812585" y="5055859"/>
                </a:lnTo>
                <a:lnTo>
                  <a:pt x="2812585" y="5055790"/>
                </a:lnTo>
                <a:lnTo>
                  <a:pt x="2705285" y="4865036"/>
                </a:lnTo>
                <a:close/>
                <a:moveTo>
                  <a:pt x="7696469" y="2592504"/>
                </a:moveTo>
                <a:lnTo>
                  <a:pt x="7696608" y="2592504"/>
                </a:lnTo>
                <a:lnTo>
                  <a:pt x="7696469" y="2592575"/>
                </a:lnTo>
                <a:close/>
                <a:moveTo>
                  <a:pt x="4751091" y="0"/>
                </a:moveTo>
                <a:lnTo>
                  <a:pt x="6253973" y="0"/>
                </a:lnTo>
                <a:lnTo>
                  <a:pt x="6951869" y="624541"/>
                </a:lnTo>
                <a:lnTo>
                  <a:pt x="6301923" y="2657285"/>
                </a:lnTo>
                <a:lnTo>
                  <a:pt x="6057131" y="3422853"/>
                </a:lnTo>
                <a:lnTo>
                  <a:pt x="7696469" y="2592575"/>
                </a:lnTo>
                <a:lnTo>
                  <a:pt x="7696469" y="5365815"/>
                </a:lnTo>
                <a:lnTo>
                  <a:pt x="4745909" y="6860279"/>
                </a:lnTo>
                <a:lnTo>
                  <a:pt x="4670806" y="5304832"/>
                </a:lnTo>
                <a:lnTo>
                  <a:pt x="3414235" y="4180618"/>
                </a:lnTo>
                <a:lnTo>
                  <a:pt x="3749607" y="3131820"/>
                </a:lnTo>
                <a:lnTo>
                  <a:pt x="3471927" y="3310211"/>
                </a:lnTo>
                <a:lnTo>
                  <a:pt x="3099523" y="3549447"/>
                </a:lnTo>
                <a:lnTo>
                  <a:pt x="2990012" y="2827112"/>
                </a:lnTo>
                <a:lnTo>
                  <a:pt x="3720381" y="2357964"/>
                </a:lnTo>
                <a:lnTo>
                  <a:pt x="4068672" y="2134268"/>
                </a:lnTo>
                <a:close/>
                <a:moveTo>
                  <a:pt x="604829" y="0"/>
                </a:moveTo>
                <a:lnTo>
                  <a:pt x="2748882" y="0"/>
                </a:lnTo>
                <a:lnTo>
                  <a:pt x="1760249" y="953421"/>
                </a:lnTo>
                <a:lnTo>
                  <a:pt x="554185" y="2116449"/>
                </a:lnTo>
                <a:lnTo>
                  <a:pt x="0" y="58331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4F9763B-5716-C024-3177-3131F43747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330893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D3960FE-A1B3-03CD-033B-FBE2EF1052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907" y="3758116"/>
            <a:ext cx="7239024" cy="32385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/>
              <a:t>Secondary hea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00909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6">
    <p:bg>
      <p:bgPr>
        <a:gradFill>
          <a:gsLst>
            <a:gs pos="100000">
              <a:schemeClr val="accent4"/>
            </a:gs>
            <a:gs pos="0">
              <a:schemeClr val="accent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9911699-419B-B02B-28CB-8242E71D6B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816599" y="0"/>
            <a:ext cx="6375402" cy="6858000"/>
          </a:xfrm>
          <a:custGeom>
            <a:avLst/>
            <a:gdLst>
              <a:gd name="connsiteX0" fmla="*/ 1515696 w 6375402"/>
              <a:gd name="connsiteY0" fmla="*/ 6276213 h 6858000"/>
              <a:gd name="connsiteX1" fmla="*/ 2088086 w 6375402"/>
              <a:gd name="connsiteY1" fmla="*/ 6619811 h 6858000"/>
              <a:gd name="connsiteX2" fmla="*/ 2059540 w 6375402"/>
              <a:gd name="connsiteY2" fmla="*/ 6858000 h 6858000"/>
              <a:gd name="connsiteX3" fmla="*/ 1944212 w 6375402"/>
              <a:gd name="connsiteY3" fmla="*/ 6858000 h 6858000"/>
              <a:gd name="connsiteX4" fmla="*/ 1593913 w 6375402"/>
              <a:gd name="connsiteY4" fmla="*/ 6647688 h 6858000"/>
              <a:gd name="connsiteX5" fmla="*/ 1479410 w 6375402"/>
              <a:gd name="connsiteY5" fmla="*/ 6578918 h 6858000"/>
              <a:gd name="connsiteX6" fmla="*/ 902135 w 6375402"/>
              <a:gd name="connsiteY6" fmla="*/ 3720719 h 6858000"/>
              <a:gd name="connsiteX7" fmla="*/ 983588 w 6375402"/>
              <a:gd name="connsiteY7" fmla="*/ 4099941 h 6858000"/>
              <a:gd name="connsiteX8" fmla="*/ 1066817 w 6375402"/>
              <a:gd name="connsiteY8" fmla="*/ 4487482 h 6858000"/>
              <a:gd name="connsiteX9" fmla="*/ 922625 w 6375402"/>
              <a:gd name="connsiteY9" fmla="*/ 4593336 h 6858000"/>
              <a:gd name="connsiteX10" fmla="*/ 778370 w 6375402"/>
              <a:gd name="connsiteY10" fmla="*/ 4699127 h 6858000"/>
              <a:gd name="connsiteX11" fmla="*/ 683341 w 6375402"/>
              <a:gd name="connsiteY11" fmla="*/ 4256596 h 6858000"/>
              <a:gd name="connsiteX12" fmla="*/ 613751 w 6375402"/>
              <a:gd name="connsiteY12" fmla="*/ 3932365 h 6858000"/>
              <a:gd name="connsiteX13" fmla="*/ 384300 w 6375402"/>
              <a:gd name="connsiteY13" fmla="*/ 1588897 h 6858000"/>
              <a:gd name="connsiteX14" fmla="*/ 1297664 w 6375402"/>
              <a:gd name="connsiteY14" fmla="*/ 2921445 h 6858000"/>
              <a:gd name="connsiteX15" fmla="*/ 1222935 w 6375402"/>
              <a:gd name="connsiteY15" fmla="*/ 3043745 h 6858000"/>
              <a:gd name="connsiteX16" fmla="*/ 913300 w 6375402"/>
              <a:gd name="connsiteY16" fmla="*/ 3550729 h 6858000"/>
              <a:gd name="connsiteX17" fmla="*/ 0 w 6375402"/>
              <a:gd name="connsiteY17" fmla="*/ 2218183 h 6858000"/>
              <a:gd name="connsiteX18" fmla="*/ 102641 w 6375402"/>
              <a:gd name="connsiteY18" fmla="*/ 2050098 h 6858000"/>
              <a:gd name="connsiteX19" fmla="*/ 1901455 w 6375402"/>
              <a:gd name="connsiteY19" fmla="*/ 1476439 h 6858000"/>
              <a:gd name="connsiteX20" fmla="*/ 2573060 w 6375402"/>
              <a:gd name="connsiteY20" fmla="*/ 2145729 h 6858000"/>
              <a:gd name="connsiteX21" fmla="*/ 2483551 w 6375402"/>
              <a:gd name="connsiteY21" fmla="*/ 2382075 h 6858000"/>
              <a:gd name="connsiteX22" fmla="*/ 2419734 w 6375402"/>
              <a:gd name="connsiteY22" fmla="*/ 2550604 h 6858000"/>
              <a:gd name="connsiteX23" fmla="*/ 1749587 w 6375402"/>
              <a:gd name="connsiteY23" fmla="*/ 1882712 h 6858000"/>
              <a:gd name="connsiteX24" fmla="*/ 1748128 w 6375402"/>
              <a:gd name="connsiteY24" fmla="*/ 1881252 h 6858000"/>
              <a:gd name="connsiteX25" fmla="*/ 6375402 w 6375402"/>
              <a:gd name="connsiteY25" fmla="*/ 983085 h 6858000"/>
              <a:gd name="connsiteX26" fmla="*/ 6375402 w 6375402"/>
              <a:gd name="connsiteY26" fmla="*/ 2876592 h 6858000"/>
              <a:gd name="connsiteX27" fmla="*/ 6273140 w 6375402"/>
              <a:gd name="connsiteY27" fmla="*/ 2903855 h 6858000"/>
              <a:gd name="connsiteX28" fmla="*/ 5935402 w 6375402"/>
              <a:gd name="connsiteY28" fmla="*/ 4240212 h 6858000"/>
              <a:gd name="connsiteX29" fmla="*/ 5597665 w 6375402"/>
              <a:gd name="connsiteY29" fmla="*/ 5576506 h 6858000"/>
              <a:gd name="connsiteX30" fmla="*/ 5246732 w 6375402"/>
              <a:gd name="connsiteY30" fmla="*/ 5637847 h 6858000"/>
              <a:gd name="connsiteX31" fmla="*/ 4895863 w 6375402"/>
              <a:gd name="connsiteY31" fmla="*/ 5699188 h 6858000"/>
              <a:gd name="connsiteX32" fmla="*/ 4632537 w 6375402"/>
              <a:gd name="connsiteY32" fmla="*/ 6821233 h 6858000"/>
              <a:gd name="connsiteX33" fmla="*/ 4441402 w 6375402"/>
              <a:gd name="connsiteY33" fmla="*/ 6858000 h 6858000"/>
              <a:gd name="connsiteX34" fmla="*/ 3552779 w 6375402"/>
              <a:gd name="connsiteY34" fmla="*/ 6858000 h 6858000"/>
              <a:gd name="connsiteX35" fmla="*/ 3660938 w 6375402"/>
              <a:gd name="connsiteY35" fmla="*/ 6397244 h 6858000"/>
              <a:gd name="connsiteX36" fmla="*/ 2670753 w 6375402"/>
              <a:gd name="connsiteY36" fmla="*/ 6858000 h 6858000"/>
              <a:gd name="connsiteX37" fmla="*/ 2264250 w 6375402"/>
              <a:gd name="connsiteY37" fmla="*/ 6858000 h 6858000"/>
              <a:gd name="connsiteX38" fmla="*/ 2233420 w 6375402"/>
              <a:gd name="connsiteY38" fmla="*/ 4713478 h 6858000"/>
              <a:gd name="connsiteX39" fmla="*/ 2207284 w 6375402"/>
              <a:gd name="connsiteY39" fmla="*/ 2895346 h 6858000"/>
              <a:gd name="connsiteX40" fmla="*/ 3395265 w 6375402"/>
              <a:gd name="connsiteY40" fmla="*/ 2342578 h 6858000"/>
              <a:gd name="connsiteX41" fmla="*/ 3923504 w 6375402"/>
              <a:gd name="connsiteY41" fmla="*/ 2096770 h 6858000"/>
              <a:gd name="connsiteX42" fmla="*/ 3966577 w 6375402"/>
              <a:gd name="connsiteY42" fmla="*/ 5094859 h 6858000"/>
              <a:gd name="connsiteX43" fmla="*/ 3966640 w 6375402"/>
              <a:gd name="connsiteY43" fmla="*/ 5094795 h 6858000"/>
              <a:gd name="connsiteX44" fmla="*/ 3966640 w 6375402"/>
              <a:gd name="connsiteY44" fmla="*/ 5094859 h 6858000"/>
              <a:gd name="connsiteX45" fmla="*/ 4083174 w 6375402"/>
              <a:gd name="connsiteY45" fmla="*/ 4598098 h 6858000"/>
              <a:gd name="connsiteX46" fmla="*/ 4426494 w 6375402"/>
              <a:gd name="connsiteY46" fmla="*/ 4531995 h 6858000"/>
              <a:gd name="connsiteX47" fmla="*/ 4915275 w 6375402"/>
              <a:gd name="connsiteY47" fmla="*/ 2598102 h 6858000"/>
              <a:gd name="connsiteX48" fmla="*/ 5313912 w 6375402"/>
              <a:gd name="connsiteY48" fmla="*/ 2528379 h 6858000"/>
              <a:gd name="connsiteX49" fmla="*/ 5912882 w 6375402"/>
              <a:gd name="connsiteY49" fmla="*/ 2423668 h 6858000"/>
              <a:gd name="connsiteX50" fmla="*/ 6037282 w 6375402"/>
              <a:gd name="connsiteY50" fmla="*/ 1652460 h 6858000"/>
              <a:gd name="connsiteX51" fmla="*/ 6134911 w 6375402"/>
              <a:gd name="connsiteY51" fmla="*/ 1047305 h 6858000"/>
              <a:gd name="connsiteX52" fmla="*/ 4754779 w 6375402"/>
              <a:gd name="connsiteY52" fmla="*/ 1 h 6858000"/>
              <a:gd name="connsiteX53" fmla="*/ 5687998 w 6375402"/>
              <a:gd name="connsiteY53" fmla="*/ 1 h 6858000"/>
              <a:gd name="connsiteX54" fmla="*/ 5335099 w 6375402"/>
              <a:gd name="connsiteY54" fmla="*/ 1864171 h 6858000"/>
              <a:gd name="connsiteX55" fmla="*/ 4357855 w 6375402"/>
              <a:gd name="connsiteY55" fmla="*/ 2096771 h 6858000"/>
              <a:gd name="connsiteX56" fmla="*/ 107588 w 6375402"/>
              <a:gd name="connsiteY56" fmla="*/ 0 h 6858000"/>
              <a:gd name="connsiteX57" fmla="*/ 2582956 w 6375402"/>
              <a:gd name="connsiteY57" fmla="*/ 0 h 6858000"/>
              <a:gd name="connsiteX58" fmla="*/ 2898745 w 6375402"/>
              <a:gd name="connsiteY58" fmla="*/ 258953 h 6858000"/>
              <a:gd name="connsiteX59" fmla="*/ 2792742 w 6375402"/>
              <a:gd name="connsiteY59" fmla="*/ 649034 h 6858000"/>
              <a:gd name="connsiteX60" fmla="*/ 2447772 w 6375402"/>
              <a:gd name="connsiteY60" fmla="*/ 1918781 h 6858000"/>
              <a:gd name="connsiteX61" fmla="*/ 2105594 w 6375402"/>
              <a:gd name="connsiteY61" fmla="*/ 163823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6375402" h="6858000">
                <a:moveTo>
                  <a:pt x="1515696" y="6276213"/>
                </a:moveTo>
                <a:lnTo>
                  <a:pt x="2088086" y="6619811"/>
                </a:lnTo>
                <a:lnTo>
                  <a:pt x="2059540" y="6858000"/>
                </a:lnTo>
                <a:lnTo>
                  <a:pt x="1944212" y="6858000"/>
                </a:lnTo>
                <a:lnTo>
                  <a:pt x="1593913" y="6647688"/>
                </a:lnTo>
                <a:lnTo>
                  <a:pt x="1479410" y="6578918"/>
                </a:lnTo>
                <a:close/>
                <a:moveTo>
                  <a:pt x="902135" y="3720719"/>
                </a:moveTo>
                <a:lnTo>
                  <a:pt x="983588" y="4099941"/>
                </a:lnTo>
                <a:lnTo>
                  <a:pt x="1066817" y="4487482"/>
                </a:lnTo>
                <a:lnTo>
                  <a:pt x="922625" y="4593336"/>
                </a:lnTo>
                <a:lnTo>
                  <a:pt x="778370" y="4699127"/>
                </a:lnTo>
                <a:lnTo>
                  <a:pt x="683341" y="4256596"/>
                </a:lnTo>
                <a:lnTo>
                  <a:pt x="613751" y="3932365"/>
                </a:lnTo>
                <a:close/>
                <a:moveTo>
                  <a:pt x="384300" y="1588897"/>
                </a:moveTo>
                <a:lnTo>
                  <a:pt x="1297664" y="2921445"/>
                </a:lnTo>
                <a:lnTo>
                  <a:pt x="1222935" y="3043745"/>
                </a:lnTo>
                <a:lnTo>
                  <a:pt x="913300" y="3550729"/>
                </a:lnTo>
                <a:lnTo>
                  <a:pt x="0" y="2218183"/>
                </a:lnTo>
                <a:lnTo>
                  <a:pt x="102641" y="2050098"/>
                </a:lnTo>
                <a:close/>
                <a:moveTo>
                  <a:pt x="1901455" y="1476439"/>
                </a:moveTo>
                <a:lnTo>
                  <a:pt x="2573060" y="2145729"/>
                </a:lnTo>
                <a:lnTo>
                  <a:pt x="2483551" y="2382075"/>
                </a:lnTo>
                <a:lnTo>
                  <a:pt x="2419734" y="2550604"/>
                </a:lnTo>
                <a:lnTo>
                  <a:pt x="1749587" y="1882712"/>
                </a:lnTo>
                <a:lnTo>
                  <a:pt x="1748128" y="1881252"/>
                </a:lnTo>
                <a:close/>
                <a:moveTo>
                  <a:pt x="6375402" y="983085"/>
                </a:moveTo>
                <a:lnTo>
                  <a:pt x="6375402" y="2876592"/>
                </a:lnTo>
                <a:lnTo>
                  <a:pt x="6273140" y="2903855"/>
                </a:lnTo>
                <a:lnTo>
                  <a:pt x="5935402" y="4240212"/>
                </a:lnTo>
                <a:lnTo>
                  <a:pt x="5597665" y="5576506"/>
                </a:lnTo>
                <a:lnTo>
                  <a:pt x="5246732" y="5637847"/>
                </a:lnTo>
                <a:lnTo>
                  <a:pt x="4895863" y="5699188"/>
                </a:lnTo>
                <a:lnTo>
                  <a:pt x="4632537" y="6821233"/>
                </a:lnTo>
                <a:lnTo>
                  <a:pt x="4441402" y="6858000"/>
                </a:lnTo>
                <a:lnTo>
                  <a:pt x="3552779" y="6858000"/>
                </a:lnTo>
                <a:lnTo>
                  <a:pt x="3660938" y="6397244"/>
                </a:lnTo>
                <a:lnTo>
                  <a:pt x="2670753" y="6858000"/>
                </a:lnTo>
                <a:lnTo>
                  <a:pt x="2264250" y="6858000"/>
                </a:lnTo>
                <a:lnTo>
                  <a:pt x="2233420" y="4713478"/>
                </a:lnTo>
                <a:lnTo>
                  <a:pt x="2207284" y="2895346"/>
                </a:lnTo>
                <a:lnTo>
                  <a:pt x="3395265" y="2342578"/>
                </a:lnTo>
                <a:lnTo>
                  <a:pt x="3923504" y="2096770"/>
                </a:lnTo>
                <a:lnTo>
                  <a:pt x="3966577" y="5094859"/>
                </a:lnTo>
                <a:lnTo>
                  <a:pt x="3966640" y="5094795"/>
                </a:lnTo>
                <a:lnTo>
                  <a:pt x="3966640" y="5094859"/>
                </a:lnTo>
                <a:lnTo>
                  <a:pt x="4083174" y="4598098"/>
                </a:lnTo>
                <a:lnTo>
                  <a:pt x="4426494" y="4531995"/>
                </a:lnTo>
                <a:lnTo>
                  <a:pt x="4915275" y="2598102"/>
                </a:lnTo>
                <a:lnTo>
                  <a:pt x="5313912" y="2528379"/>
                </a:lnTo>
                <a:lnTo>
                  <a:pt x="5912882" y="2423668"/>
                </a:lnTo>
                <a:lnTo>
                  <a:pt x="6037282" y="1652460"/>
                </a:lnTo>
                <a:lnTo>
                  <a:pt x="6134911" y="1047305"/>
                </a:lnTo>
                <a:close/>
                <a:moveTo>
                  <a:pt x="4754779" y="1"/>
                </a:moveTo>
                <a:lnTo>
                  <a:pt x="5687998" y="1"/>
                </a:lnTo>
                <a:lnTo>
                  <a:pt x="5335099" y="1864171"/>
                </a:lnTo>
                <a:lnTo>
                  <a:pt x="4357855" y="2096771"/>
                </a:lnTo>
                <a:close/>
                <a:moveTo>
                  <a:pt x="107588" y="0"/>
                </a:moveTo>
                <a:lnTo>
                  <a:pt x="2582956" y="0"/>
                </a:lnTo>
                <a:lnTo>
                  <a:pt x="2898745" y="258953"/>
                </a:lnTo>
                <a:lnTo>
                  <a:pt x="2792742" y="649034"/>
                </a:lnTo>
                <a:lnTo>
                  <a:pt x="2447772" y="1918781"/>
                </a:lnTo>
                <a:lnTo>
                  <a:pt x="2105594" y="163823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DC4A258-C603-25FF-B1FA-7B2541545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330893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3CB13B10-87FC-65F6-7ADB-0BBD371217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907" y="3758116"/>
            <a:ext cx="7239024" cy="32385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/>
              <a:t>Secondary hea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1456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7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8E790C48-70A6-9376-165F-D52E6AA696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72032" y="1"/>
            <a:ext cx="7519969" cy="6857603"/>
          </a:xfrm>
          <a:custGeom>
            <a:avLst/>
            <a:gdLst>
              <a:gd name="connsiteX0" fmla="*/ 3362094 w 7519969"/>
              <a:gd name="connsiteY0" fmla="*/ 5329533 h 6857603"/>
              <a:gd name="connsiteX1" fmla="*/ 3220954 w 7519969"/>
              <a:gd name="connsiteY1" fmla="*/ 6178219 h 6857603"/>
              <a:gd name="connsiteX2" fmla="*/ 3134643 w 7519969"/>
              <a:gd name="connsiteY2" fmla="*/ 6697363 h 6857603"/>
              <a:gd name="connsiteX3" fmla="*/ 2522397 w 7519969"/>
              <a:gd name="connsiteY3" fmla="*/ 6857603 h 6857603"/>
              <a:gd name="connsiteX4" fmla="*/ 2522400 w 7519969"/>
              <a:gd name="connsiteY4" fmla="*/ 6857585 h 6857603"/>
              <a:gd name="connsiteX5" fmla="*/ 2749848 w 7519969"/>
              <a:gd name="connsiteY5" fmla="*/ 5489773 h 6857603"/>
              <a:gd name="connsiteX6" fmla="*/ 3362014 w 7519969"/>
              <a:gd name="connsiteY6" fmla="*/ 5329554 h 6857603"/>
              <a:gd name="connsiteX7" fmla="*/ 3747484 w 7519969"/>
              <a:gd name="connsiteY7" fmla="*/ 4865609 h 6857603"/>
              <a:gd name="connsiteX8" fmla="*/ 4207524 w 7519969"/>
              <a:gd name="connsiteY8" fmla="*/ 5486240 h 6857603"/>
              <a:gd name="connsiteX9" fmla="*/ 4207545 w 7519969"/>
              <a:gd name="connsiteY9" fmla="*/ 5486268 h 6857603"/>
              <a:gd name="connsiteX10" fmla="*/ 4117530 w 7519969"/>
              <a:gd name="connsiteY10" fmla="*/ 5646310 h 6857603"/>
              <a:gd name="connsiteX11" fmla="*/ 4034725 w 7519969"/>
              <a:gd name="connsiteY11" fmla="*/ 5793588 h 6857603"/>
              <a:gd name="connsiteX12" fmla="*/ 3574664 w 7519969"/>
              <a:gd name="connsiteY12" fmla="*/ 5172996 h 6857603"/>
              <a:gd name="connsiteX13" fmla="*/ 3574685 w 7519969"/>
              <a:gd name="connsiteY13" fmla="*/ 5172959 h 6857603"/>
              <a:gd name="connsiteX14" fmla="*/ 3247344 w 7519969"/>
              <a:gd name="connsiteY14" fmla="*/ 3999001 h 6857603"/>
              <a:gd name="connsiteX15" fmla="*/ 7519969 w 7519969"/>
              <a:gd name="connsiteY15" fmla="*/ 6163668 h 6857603"/>
              <a:gd name="connsiteX16" fmla="*/ 7519969 w 7519969"/>
              <a:gd name="connsiteY16" fmla="*/ 6163700 h 6857603"/>
              <a:gd name="connsiteX17" fmla="*/ 3247278 w 7519969"/>
              <a:gd name="connsiteY17" fmla="*/ 3998935 h 6857603"/>
              <a:gd name="connsiteX18" fmla="*/ 3247346 w 7519969"/>
              <a:gd name="connsiteY18" fmla="*/ 3998969 h 6857603"/>
              <a:gd name="connsiteX19" fmla="*/ 3247344 w 7519969"/>
              <a:gd name="connsiteY19" fmla="*/ 3999001 h 6857603"/>
              <a:gd name="connsiteX20" fmla="*/ 728187 w 7519969"/>
              <a:gd name="connsiteY20" fmla="*/ 1273128 h 6857603"/>
              <a:gd name="connsiteX21" fmla="*/ 1947520 w 7519969"/>
              <a:gd name="connsiteY21" fmla="*/ 3566557 h 6857603"/>
              <a:gd name="connsiteX22" fmla="*/ 1576151 w 7519969"/>
              <a:gd name="connsiteY22" fmla="*/ 4043641 h 6857603"/>
              <a:gd name="connsiteX23" fmla="*/ 1219333 w 7519969"/>
              <a:gd name="connsiteY23" fmla="*/ 4502009 h 6857603"/>
              <a:gd name="connsiteX24" fmla="*/ 93322 w 7519969"/>
              <a:gd name="connsiteY24" fmla="*/ 2384098 h 6857603"/>
              <a:gd name="connsiteX25" fmla="*/ 0 w 7519969"/>
              <a:gd name="connsiteY25" fmla="*/ 2208580 h 6857603"/>
              <a:gd name="connsiteX26" fmla="*/ 461450 w 7519969"/>
              <a:gd name="connsiteY26" fmla="*/ 1615763 h 6857603"/>
              <a:gd name="connsiteX27" fmla="*/ 461450 w 7519969"/>
              <a:gd name="connsiteY27" fmla="*/ 1615830 h 6857603"/>
              <a:gd name="connsiteX28" fmla="*/ 2373850 w 7519969"/>
              <a:gd name="connsiteY28" fmla="*/ 347000 h 6857603"/>
              <a:gd name="connsiteX29" fmla="*/ 2592372 w 7519969"/>
              <a:gd name="connsiteY29" fmla="*/ 567554 h 6857603"/>
              <a:gd name="connsiteX30" fmla="*/ 2761753 w 7519969"/>
              <a:gd name="connsiteY30" fmla="*/ 738508 h 6857603"/>
              <a:gd name="connsiteX31" fmla="*/ 2670945 w 7519969"/>
              <a:gd name="connsiteY31" fmla="*/ 973082 h 6857603"/>
              <a:gd name="connsiteX32" fmla="*/ 2283042 w 7519969"/>
              <a:gd name="connsiteY32" fmla="*/ 581574 h 6857603"/>
              <a:gd name="connsiteX33" fmla="*/ 2373832 w 7519969"/>
              <a:gd name="connsiteY33" fmla="*/ 347048 h 6857603"/>
              <a:gd name="connsiteX34" fmla="*/ 6876770 w 7519969"/>
              <a:gd name="connsiteY34" fmla="*/ 0 h 6857603"/>
              <a:gd name="connsiteX35" fmla="*/ 6208704 w 7519969"/>
              <a:gd name="connsiteY35" fmla="*/ 597975 h 6857603"/>
              <a:gd name="connsiteX36" fmla="*/ 6876837 w 7519969"/>
              <a:gd name="connsiteY36" fmla="*/ 0 h 6857603"/>
              <a:gd name="connsiteX37" fmla="*/ 7519969 w 7519969"/>
              <a:gd name="connsiteY37" fmla="*/ 0 h 6857603"/>
              <a:gd name="connsiteX38" fmla="*/ 7519969 w 7519969"/>
              <a:gd name="connsiteY38" fmla="*/ 6163668 h 6857603"/>
              <a:gd name="connsiteX39" fmla="*/ 3247346 w 7519969"/>
              <a:gd name="connsiteY39" fmla="*/ 3998969 h 6857603"/>
              <a:gd name="connsiteX40" fmla="*/ 3260968 w 7519969"/>
              <a:gd name="connsiteY40" fmla="*/ 3717010 h 6857603"/>
              <a:gd name="connsiteX41" fmla="*/ 3286299 w 7519969"/>
              <a:gd name="connsiteY41" fmla="*/ 3191979 h 6857603"/>
              <a:gd name="connsiteX42" fmla="*/ 2624912 w 7519969"/>
              <a:gd name="connsiteY42" fmla="*/ 3263204 h 6857603"/>
              <a:gd name="connsiteX43" fmla="*/ 3041388 w 7519969"/>
              <a:gd name="connsiteY43" fmla="*/ 1978569 h 6857603"/>
              <a:gd name="connsiteX44" fmla="*/ 3568447 w 7519969"/>
              <a:gd name="connsiteY44" fmla="*/ 352688 h 6857603"/>
              <a:gd name="connsiteX45" fmla="*/ 4956896 w 7519969"/>
              <a:gd name="connsiteY45" fmla="*/ 203227 h 6857603"/>
              <a:gd name="connsiteX46" fmla="*/ 4764169 w 7519969"/>
              <a:gd name="connsiteY46" fmla="*/ 797763 h 6857603"/>
              <a:gd name="connsiteX47" fmla="*/ 4398289 w 7519969"/>
              <a:gd name="connsiteY47" fmla="*/ 1926390 h 6857603"/>
              <a:gd name="connsiteX48" fmla="*/ 7065200 w 7519969"/>
              <a:gd name="connsiteY48" fmla="*/ 3277555 h 6857603"/>
              <a:gd name="connsiteX49" fmla="*/ 6867445 w 7519969"/>
              <a:gd name="connsiteY49" fmla="*/ 2658880 h 6857603"/>
              <a:gd name="connsiteX50" fmla="*/ 6867379 w 7519969"/>
              <a:gd name="connsiteY50" fmla="*/ 2658880 h 6857603"/>
              <a:gd name="connsiteX51" fmla="*/ 6208637 w 7519969"/>
              <a:gd name="connsiteY51" fmla="*/ 597975 h 6857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7519969" h="6857603">
                <a:moveTo>
                  <a:pt x="3362094" y="5329533"/>
                </a:moveTo>
                <a:lnTo>
                  <a:pt x="3220954" y="6178219"/>
                </a:lnTo>
                <a:lnTo>
                  <a:pt x="3134643" y="6697363"/>
                </a:lnTo>
                <a:lnTo>
                  <a:pt x="2522397" y="6857603"/>
                </a:lnTo>
                <a:lnTo>
                  <a:pt x="2522400" y="6857585"/>
                </a:lnTo>
                <a:lnTo>
                  <a:pt x="2749848" y="5489773"/>
                </a:lnTo>
                <a:lnTo>
                  <a:pt x="3362014" y="5329554"/>
                </a:lnTo>
                <a:close/>
                <a:moveTo>
                  <a:pt x="3747484" y="4865609"/>
                </a:moveTo>
                <a:lnTo>
                  <a:pt x="4207524" y="5486240"/>
                </a:lnTo>
                <a:lnTo>
                  <a:pt x="4207545" y="5486268"/>
                </a:lnTo>
                <a:lnTo>
                  <a:pt x="4117530" y="5646310"/>
                </a:lnTo>
                <a:lnTo>
                  <a:pt x="4034725" y="5793588"/>
                </a:lnTo>
                <a:lnTo>
                  <a:pt x="3574664" y="5172996"/>
                </a:lnTo>
                <a:lnTo>
                  <a:pt x="3574685" y="5172959"/>
                </a:lnTo>
                <a:close/>
                <a:moveTo>
                  <a:pt x="3247344" y="3999001"/>
                </a:moveTo>
                <a:lnTo>
                  <a:pt x="7519969" y="6163668"/>
                </a:lnTo>
                <a:lnTo>
                  <a:pt x="7519969" y="6163700"/>
                </a:lnTo>
                <a:close/>
                <a:moveTo>
                  <a:pt x="3247278" y="3998935"/>
                </a:moveTo>
                <a:lnTo>
                  <a:pt x="3247346" y="3998969"/>
                </a:lnTo>
                <a:lnTo>
                  <a:pt x="3247344" y="3999001"/>
                </a:lnTo>
                <a:close/>
                <a:moveTo>
                  <a:pt x="728187" y="1273128"/>
                </a:moveTo>
                <a:lnTo>
                  <a:pt x="1947520" y="3566557"/>
                </a:lnTo>
                <a:lnTo>
                  <a:pt x="1576151" y="4043641"/>
                </a:lnTo>
                <a:lnTo>
                  <a:pt x="1219333" y="4502009"/>
                </a:lnTo>
                <a:lnTo>
                  <a:pt x="93322" y="2384098"/>
                </a:lnTo>
                <a:lnTo>
                  <a:pt x="0" y="2208580"/>
                </a:lnTo>
                <a:lnTo>
                  <a:pt x="461450" y="1615763"/>
                </a:lnTo>
                <a:lnTo>
                  <a:pt x="461450" y="1615830"/>
                </a:lnTo>
                <a:close/>
                <a:moveTo>
                  <a:pt x="2373850" y="347000"/>
                </a:moveTo>
                <a:lnTo>
                  <a:pt x="2592372" y="567554"/>
                </a:lnTo>
                <a:lnTo>
                  <a:pt x="2761753" y="738508"/>
                </a:lnTo>
                <a:lnTo>
                  <a:pt x="2670945" y="973082"/>
                </a:lnTo>
                <a:lnTo>
                  <a:pt x="2283042" y="581574"/>
                </a:lnTo>
                <a:lnTo>
                  <a:pt x="2373832" y="347048"/>
                </a:lnTo>
                <a:close/>
                <a:moveTo>
                  <a:pt x="6876770" y="0"/>
                </a:moveTo>
                <a:lnTo>
                  <a:pt x="6208704" y="597975"/>
                </a:lnTo>
                <a:lnTo>
                  <a:pt x="6876837" y="0"/>
                </a:lnTo>
                <a:lnTo>
                  <a:pt x="7519969" y="0"/>
                </a:lnTo>
                <a:lnTo>
                  <a:pt x="7519969" y="6163668"/>
                </a:lnTo>
                <a:lnTo>
                  <a:pt x="3247346" y="3998969"/>
                </a:lnTo>
                <a:lnTo>
                  <a:pt x="3260968" y="3717010"/>
                </a:lnTo>
                <a:lnTo>
                  <a:pt x="3286299" y="3191979"/>
                </a:lnTo>
                <a:lnTo>
                  <a:pt x="2624912" y="3263204"/>
                </a:lnTo>
                <a:lnTo>
                  <a:pt x="3041388" y="1978569"/>
                </a:lnTo>
                <a:lnTo>
                  <a:pt x="3568447" y="352688"/>
                </a:lnTo>
                <a:lnTo>
                  <a:pt x="4956896" y="203227"/>
                </a:lnTo>
                <a:lnTo>
                  <a:pt x="4764169" y="797763"/>
                </a:lnTo>
                <a:lnTo>
                  <a:pt x="4398289" y="1926390"/>
                </a:lnTo>
                <a:lnTo>
                  <a:pt x="7065200" y="3277555"/>
                </a:lnTo>
                <a:lnTo>
                  <a:pt x="6867445" y="2658880"/>
                </a:lnTo>
                <a:lnTo>
                  <a:pt x="6867379" y="2658880"/>
                </a:lnTo>
                <a:lnTo>
                  <a:pt x="6208637" y="59797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DBDBBA1-3402-0052-1F0C-E4C4C6313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330893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6447244-4CF9-599C-0D61-CE5DB10FDE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907" y="3758116"/>
            <a:ext cx="7239024" cy="32385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/>
              <a:t>Secondary hea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3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8">
    <p:bg>
      <p:bgPr>
        <a:gradFill>
          <a:gsLst>
            <a:gs pos="100000">
              <a:schemeClr val="accent4"/>
            </a:gs>
            <a:gs pos="0">
              <a:schemeClr val="accent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101FE6E-834E-643B-24B7-AA38CF9BF77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95185" y="1"/>
            <a:ext cx="7696608" cy="6860279"/>
          </a:xfrm>
          <a:custGeom>
            <a:avLst/>
            <a:gdLst>
              <a:gd name="connsiteX0" fmla="*/ 1349983 w 7696608"/>
              <a:gd name="connsiteY0" fmla="*/ 4887344 h 6860279"/>
              <a:gd name="connsiteX1" fmla="*/ 1411336 w 7696608"/>
              <a:gd name="connsiteY1" fmla="*/ 5538612 h 6860279"/>
              <a:gd name="connsiteX2" fmla="*/ 685528 w 7696608"/>
              <a:gd name="connsiteY2" fmla="*/ 5948849 h 6860279"/>
              <a:gd name="connsiteX3" fmla="*/ 163126 w 7696608"/>
              <a:gd name="connsiteY3" fmla="*/ 6244095 h 6860279"/>
              <a:gd name="connsiteX4" fmla="*/ 101772 w 7696608"/>
              <a:gd name="connsiteY4" fmla="*/ 5592827 h 6860279"/>
              <a:gd name="connsiteX5" fmla="*/ 874148 w 7696608"/>
              <a:gd name="connsiteY5" fmla="*/ 5156277 h 6860279"/>
              <a:gd name="connsiteX6" fmla="*/ 3185887 w 7696608"/>
              <a:gd name="connsiteY6" fmla="*/ 4216876 h 6860279"/>
              <a:gd name="connsiteX7" fmla="*/ 3202400 w 7696608"/>
              <a:gd name="connsiteY7" fmla="*/ 4246228 h 6860279"/>
              <a:gd name="connsiteX8" fmla="*/ 3366424 w 7696608"/>
              <a:gd name="connsiteY8" fmla="*/ 4537814 h 6860279"/>
              <a:gd name="connsiteX9" fmla="*/ 3065530 w 7696608"/>
              <a:gd name="connsiteY9" fmla="*/ 4943631 h 6860279"/>
              <a:gd name="connsiteX10" fmla="*/ 2885822 w 7696608"/>
              <a:gd name="connsiteY10" fmla="*/ 5186043 h 6860279"/>
              <a:gd name="connsiteX11" fmla="*/ 2812585 w 7696608"/>
              <a:gd name="connsiteY11" fmla="*/ 5055859 h 6860279"/>
              <a:gd name="connsiteX12" fmla="*/ 2812585 w 7696608"/>
              <a:gd name="connsiteY12" fmla="*/ 5055790 h 6860279"/>
              <a:gd name="connsiteX13" fmla="*/ 2705285 w 7696608"/>
              <a:gd name="connsiteY13" fmla="*/ 4865036 h 6860279"/>
              <a:gd name="connsiteX14" fmla="*/ 7696469 w 7696608"/>
              <a:gd name="connsiteY14" fmla="*/ 2592504 h 6860279"/>
              <a:gd name="connsiteX15" fmla="*/ 7696608 w 7696608"/>
              <a:gd name="connsiteY15" fmla="*/ 2592504 h 6860279"/>
              <a:gd name="connsiteX16" fmla="*/ 7696469 w 7696608"/>
              <a:gd name="connsiteY16" fmla="*/ 2592575 h 6860279"/>
              <a:gd name="connsiteX17" fmla="*/ 4751091 w 7696608"/>
              <a:gd name="connsiteY17" fmla="*/ 0 h 6860279"/>
              <a:gd name="connsiteX18" fmla="*/ 6253973 w 7696608"/>
              <a:gd name="connsiteY18" fmla="*/ 0 h 6860279"/>
              <a:gd name="connsiteX19" fmla="*/ 6951869 w 7696608"/>
              <a:gd name="connsiteY19" fmla="*/ 624541 h 6860279"/>
              <a:gd name="connsiteX20" fmla="*/ 6301923 w 7696608"/>
              <a:gd name="connsiteY20" fmla="*/ 2657285 h 6860279"/>
              <a:gd name="connsiteX21" fmla="*/ 6057131 w 7696608"/>
              <a:gd name="connsiteY21" fmla="*/ 3422853 h 6860279"/>
              <a:gd name="connsiteX22" fmla="*/ 7696469 w 7696608"/>
              <a:gd name="connsiteY22" fmla="*/ 2592575 h 6860279"/>
              <a:gd name="connsiteX23" fmla="*/ 7696469 w 7696608"/>
              <a:gd name="connsiteY23" fmla="*/ 5365815 h 6860279"/>
              <a:gd name="connsiteX24" fmla="*/ 4745909 w 7696608"/>
              <a:gd name="connsiteY24" fmla="*/ 6860279 h 6860279"/>
              <a:gd name="connsiteX25" fmla="*/ 4670806 w 7696608"/>
              <a:gd name="connsiteY25" fmla="*/ 5304832 h 6860279"/>
              <a:gd name="connsiteX26" fmla="*/ 3414235 w 7696608"/>
              <a:gd name="connsiteY26" fmla="*/ 4180618 h 6860279"/>
              <a:gd name="connsiteX27" fmla="*/ 3749607 w 7696608"/>
              <a:gd name="connsiteY27" fmla="*/ 3131820 h 6860279"/>
              <a:gd name="connsiteX28" fmla="*/ 3471927 w 7696608"/>
              <a:gd name="connsiteY28" fmla="*/ 3310211 h 6860279"/>
              <a:gd name="connsiteX29" fmla="*/ 3099523 w 7696608"/>
              <a:gd name="connsiteY29" fmla="*/ 3549447 h 6860279"/>
              <a:gd name="connsiteX30" fmla="*/ 2990012 w 7696608"/>
              <a:gd name="connsiteY30" fmla="*/ 2827112 h 6860279"/>
              <a:gd name="connsiteX31" fmla="*/ 3720381 w 7696608"/>
              <a:gd name="connsiteY31" fmla="*/ 2357964 h 6860279"/>
              <a:gd name="connsiteX32" fmla="*/ 4068672 w 7696608"/>
              <a:gd name="connsiteY32" fmla="*/ 2134268 h 6860279"/>
              <a:gd name="connsiteX33" fmla="*/ 604829 w 7696608"/>
              <a:gd name="connsiteY33" fmla="*/ 0 h 6860279"/>
              <a:gd name="connsiteX34" fmla="*/ 2748882 w 7696608"/>
              <a:gd name="connsiteY34" fmla="*/ 0 h 6860279"/>
              <a:gd name="connsiteX35" fmla="*/ 1760249 w 7696608"/>
              <a:gd name="connsiteY35" fmla="*/ 953421 h 6860279"/>
              <a:gd name="connsiteX36" fmla="*/ 554185 w 7696608"/>
              <a:gd name="connsiteY36" fmla="*/ 2116449 h 6860279"/>
              <a:gd name="connsiteX37" fmla="*/ 0 w 7696608"/>
              <a:gd name="connsiteY37" fmla="*/ 583310 h 6860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7696608" h="6860279">
                <a:moveTo>
                  <a:pt x="1349983" y="4887344"/>
                </a:moveTo>
                <a:lnTo>
                  <a:pt x="1411336" y="5538612"/>
                </a:lnTo>
                <a:lnTo>
                  <a:pt x="685528" y="5948849"/>
                </a:lnTo>
                <a:lnTo>
                  <a:pt x="163126" y="6244095"/>
                </a:lnTo>
                <a:lnTo>
                  <a:pt x="101772" y="5592827"/>
                </a:lnTo>
                <a:lnTo>
                  <a:pt x="874148" y="5156277"/>
                </a:lnTo>
                <a:close/>
                <a:moveTo>
                  <a:pt x="3185887" y="4216876"/>
                </a:moveTo>
                <a:lnTo>
                  <a:pt x="3202400" y="4246228"/>
                </a:lnTo>
                <a:lnTo>
                  <a:pt x="3366424" y="4537814"/>
                </a:lnTo>
                <a:lnTo>
                  <a:pt x="3065530" y="4943631"/>
                </a:lnTo>
                <a:lnTo>
                  <a:pt x="2885822" y="5186043"/>
                </a:lnTo>
                <a:lnTo>
                  <a:pt x="2812585" y="5055859"/>
                </a:lnTo>
                <a:lnTo>
                  <a:pt x="2812585" y="5055790"/>
                </a:lnTo>
                <a:lnTo>
                  <a:pt x="2705285" y="4865036"/>
                </a:lnTo>
                <a:close/>
                <a:moveTo>
                  <a:pt x="7696469" y="2592504"/>
                </a:moveTo>
                <a:lnTo>
                  <a:pt x="7696608" y="2592504"/>
                </a:lnTo>
                <a:lnTo>
                  <a:pt x="7696469" y="2592575"/>
                </a:lnTo>
                <a:close/>
                <a:moveTo>
                  <a:pt x="4751091" y="0"/>
                </a:moveTo>
                <a:lnTo>
                  <a:pt x="6253973" y="0"/>
                </a:lnTo>
                <a:lnTo>
                  <a:pt x="6951869" y="624541"/>
                </a:lnTo>
                <a:lnTo>
                  <a:pt x="6301923" y="2657285"/>
                </a:lnTo>
                <a:lnTo>
                  <a:pt x="6057131" y="3422853"/>
                </a:lnTo>
                <a:lnTo>
                  <a:pt x="7696469" y="2592575"/>
                </a:lnTo>
                <a:lnTo>
                  <a:pt x="7696469" y="5365815"/>
                </a:lnTo>
                <a:lnTo>
                  <a:pt x="4745909" y="6860279"/>
                </a:lnTo>
                <a:lnTo>
                  <a:pt x="4670806" y="5304832"/>
                </a:lnTo>
                <a:lnTo>
                  <a:pt x="3414235" y="4180618"/>
                </a:lnTo>
                <a:lnTo>
                  <a:pt x="3749607" y="3131820"/>
                </a:lnTo>
                <a:lnTo>
                  <a:pt x="3471927" y="3310211"/>
                </a:lnTo>
                <a:lnTo>
                  <a:pt x="3099523" y="3549447"/>
                </a:lnTo>
                <a:lnTo>
                  <a:pt x="2990012" y="2827112"/>
                </a:lnTo>
                <a:lnTo>
                  <a:pt x="3720381" y="2357964"/>
                </a:lnTo>
                <a:lnTo>
                  <a:pt x="4068672" y="2134268"/>
                </a:lnTo>
                <a:close/>
                <a:moveTo>
                  <a:pt x="604829" y="0"/>
                </a:moveTo>
                <a:lnTo>
                  <a:pt x="2748882" y="0"/>
                </a:lnTo>
                <a:lnTo>
                  <a:pt x="1760249" y="953421"/>
                </a:lnTo>
                <a:lnTo>
                  <a:pt x="554185" y="2116449"/>
                </a:lnTo>
                <a:lnTo>
                  <a:pt x="0" y="58331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B62BC16-C903-E86D-9F1A-49E3253BFF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330893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4494ABE-C38E-1DCA-E4AF-99343FFF4D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907" y="3758116"/>
            <a:ext cx="7239024" cy="323850"/>
          </a:xfrm>
        </p:spPr>
        <p:txBody>
          <a:bodyPr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/>
              <a:t>Secondary hea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8450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_2">
    <p:bg>
      <p:bgPr>
        <a:gradFill>
          <a:gsLst>
            <a:gs pos="0">
              <a:schemeClr val="bg2"/>
            </a:gs>
            <a:gs pos="100000">
              <a:schemeClr val="accent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14E23-4D5A-C225-A302-6C9C57B22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643127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bg object 17">
            <a:extLst>
              <a:ext uri="{FF2B5EF4-FFF2-40B4-BE49-F238E27FC236}">
                <a16:creationId xmlns:a16="http://schemas.microsoft.com/office/drawing/2014/main" id="{5AE8EB3F-06DA-9660-72EB-9FC6330A4F34}"/>
              </a:ext>
            </a:extLst>
          </p:cNvPr>
          <p:cNvSpPr/>
          <p:nvPr userDrawn="1"/>
        </p:nvSpPr>
        <p:spPr>
          <a:xfrm>
            <a:off x="3791345" y="1"/>
            <a:ext cx="8400655" cy="6858000"/>
          </a:xfrm>
          <a:custGeom>
            <a:avLst/>
            <a:gdLst/>
            <a:ahLst/>
            <a:cxnLst/>
            <a:rect l="l" t="t" r="r" b="b"/>
            <a:pathLst>
              <a:path w="13852525" h="11308715">
                <a:moveTo>
                  <a:pt x="13663594" y="541274"/>
                </a:moveTo>
                <a:lnTo>
                  <a:pt x="13337552" y="886374"/>
                </a:lnTo>
                <a:lnTo>
                  <a:pt x="13458406" y="2559160"/>
                </a:lnTo>
                <a:lnTo>
                  <a:pt x="13784438" y="2214071"/>
                </a:lnTo>
                <a:lnTo>
                  <a:pt x="13663594" y="541274"/>
                </a:lnTo>
                <a:close/>
              </a:path>
              <a:path w="13852525" h="11308715">
                <a:moveTo>
                  <a:pt x="12862427" y="0"/>
                </a:moveTo>
                <a:lnTo>
                  <a:pt x="12842864" y="0"/>
                </a:lnTo>
                <a:lnTo>
                  <a:pt x="12849922" y="22955"/>
                </a:lnTo>
                <a:lnTo>
                  <a:pt x="12862427" y="0"/>
                </a:lnTo>
                <a:close/>
              </a:path>
              <a:path w="13852525" h="11308715">
                <a:moveTo>
                  <a:pt x="1356744" y="11181556"/>
                </a:moveTo>
                <a:lnTo>
                  <a:pt x="1317802" y="11206956"/>
                </a:lnTo>
                <a:lnTo>
                  <a:pt x="1288384" y="11308556"/>
                </a:lnTo>
                <a:lnTo>
                  <a:pt x="1318869" y="11308556"/>
                </a:lnTo>
                <a:lnTo>
                  <a:pt x="1356744" y="11181556"/>
                </a:lnTo>
                <a:close/>
              </a:path>
              <a:path w="13852525" h="11308715">
                <a:moveTo>
                  <a:pt x="2108543" y="10737056"/>
                </a:moveTo>
                <a:lnTo>
                  <a:pt x="1991771" y="10813256"/>
                </a:lnTo>
                <a:lnTo>
                  <a:pt x="1863059" y="11308556"/>
                </a:lnTo>
                <a:lnTo>
                  <a:pt x="1960085" y="11308556"/>
                </a:lnTo>
                <a:lnTo>
                  <a:pt x="2108543" y="10737056"/>
                </a:lnTo>
                <a:close/>
              </a:path>
              <a:path w="13852525" h="11308715">
                <a:moveTo>
                  <a:pt x="2860321" y="10292556"/>
                </a:moveTo>
                <a:lnTo>
                  <a:pt x="2665698" y="10419556"/>
                </a:lnTo>
                <a:lnTo>
                  <a:pt x="2464479" y="11308556"/>
                </a:lnTo>
                <a:lnTo>
                  <a:pt x="2631287" y="11308556"/>
                </a:lnTo>
                <a:lnTo>
                  <a:pt x="2860321" y="10292556"/>
                </a:lnTo>
                <a:close/>
              </a:path>
              <a:path w="13852525" h="11308715">
                <a:moveTo>
                  <a:pt x="4206856" y="10991056"/>
                </a:moveTo>
                <a:lnTo>
                  <a:pt x="3978528" y="11232356"/>
                </a:lnTo>
                <a:lnTo>
                  <a:pt x="3984302" y="11308556"/>
                </a:lnTo>
                <a:lnTo>
                  <a:pt x="4230674" y="11308556"/>
                </a:lnTo>
                <a:lnTo>
                  <a:pt x="4206856" y="10991056"/>
                </a:lnTo>
                <a:close/>
              </a:path>
              <a:path w="13852525" h="11308715">
                <a:moveTo>
                  <a:pt x="4844187" y="10356056"/>
                </a:moveTo>
                <a:lnTo>
                  <a:pt x="4550207" y="10660856"/>
                </a:lnTo>
                <a:lnTo>
                  <a:pt x="4626194" y="11308556"/>
                </a:lnTo>
                <a:lnTo>
                  <a:pt x="4956321" y="11308556"/>
                </a:lnTo>
                <a:lnTo>
                  <a:pt x="4844187" y="10356056"/>
                </a:lnTo>
                <a:close/>
              </a:path>
              <a:path w="13852525" h="11308715">
                <a:moveTo>
                  <a:pt x="5579023" y="11168856"/>
                </a:moveTo>
                <a:lnTo>
                  <a:pt x="5495758" y="11308556"/>
                </a:lnTo>
                <a:lnTo>
                  <a:pt x="5639011" y="11308556"/>
                </a:lnTo>
                <a:lnTo>
                  <a:pt x="5579023" y="11168856"/>
                </a:lnTo>
                <a:close/>
              </a:path>
              <a:path w="13852525" h="11308715">
                <a:moveTo>
                  <a:pt x="6049721" y="10356056"/>
                </a:moveTo>
                <a:lnTo>
                  <a:pt x="5788221" y="10825956"/>
                </a:lnTo>
                <a:lnTo>
                  <a:pt x="6010322" y="11308556"/>
                </a:lnTo>
                <a:lnTo>
                  <a:pt x="6481959" y="11308556"/>
                </a:lnTo>
                <a:lnTo>
                  <a:pt x="6049721" y="10356056"/>
                </a:lnTo>
                <a:close/>
              </a:path>
              <a:path w="13852525" h="11308715">
                <a:moveTo>
                  <a:pt x="6792159" y="10851356"/>
                </a:moveTo>
                <a:lnTo>
                  <a:pt x="6670546" y="11308556"/>
                </a:lnTo>
                <a:lnTo>
                  <a:pt x="7184035" y="11308556"/>
                </a:lnTo>
                <a:lnTo>
                  <a:pt x="6792159" y="10851356"/>
                </a:lnTo>
                <a:close/>
              </a:path>
              <a:path w="13852525" h="11308715">
                <a:moveTo>
                  <a:pt x="7666782" y="11130756"/>
                </a:moveTo>
                <a:lnTo>
                  <a:pt x="7667177" y="11308556"/>
                </a:lnTo>
                <a:lnTo>
                  <a:pt x="7938091" y="11308556"/>
                </a:lnTo>
                <a:lnTo>
                  <a:pt x="7666782" y="11130756"/>
                </a:lnTo>
                <a:close/>
              </a:path>
              <a:path w="13852525" h="11308715">
                <a:moveTo>
                  <a:pt x="9478281" y="10813256"/>
                </a:moveTo>
                <a:lnTo>
                  <a:pt x="7686195" y="10813256"/>
                </a:lnTo>
                <a:lnTo>
                  <a:pt x="8511158" y="11308556"/>
                </a:lnTo>
                <a:lnTo>
                  <a:pt x="8554593" y="11308556"/>
                </a:lnTo>
                <a:lnTo>
                  <a:pt x="8554315" y="10851356"/>
                </a:lnTo>
                <a:lnTo>
                  <a:pt x="9488564" y="10851356"/>
                </a:lnTo>
                <a:lnTo>
                  <a:pt x="9478281" y="10813256"/>
                </a:lnTo>
                <a:close/>
              </a:path>
              <a:path w="13852525" h="11308715">
                <a:moveTo>
                  <a:pt x="8619486" y="11168856"/>
                </a:moveTo>
                <a:lnTo>
                  <a:pt x="8658631" y="11308556"/>
                </a:lnTo>
                <a:lnTo>
                  <a:pt x="9042097" y="11308556"/>
                </a:lnTo>
                <a:lnTo>
                  <a:pt x="8619486" y="11168856"/>
                </a:lnTo>
                <a:close/>
              </a:path>
              <a:path w="13852525" h="11308715">
                <a:moveTo>
                  <a:pt x="9587425" y="10952956"/>
                </a:moveTo>
                <a:lnTo>
                  <a:pt x="9799117" y="11308556"/>
                </a:lnTo>
                <a:lnTo>
                  <a:pt x="10926641" y="11308556"/>
                </a:lnTo>
                <a:lnTo>
                  <a:pt x="10757923" y="11029156"/>
                </a:lnTo>
                <a:lnTo>
                  <a:pt x="9587425" y="10952956"/>
                </a:lnTo>
                <a:close/>
              </a:path>
              <a:path w="13852525" h="11308715">
                <a:moveTo>
                  <a:pt x="12527880" y="11029156"/>
                </a:moveTo>
                <a:lnTo>
                  <a:pt x="11234160" y="11219656"/>
                </a:lnTo>
                <a:lnTo>
                  <a:pt x="11329752" y="11308556"/>
                </a:lnTo>
                <a:lnTo>
                  <a:pt x="12829487" y="11308556"/>
                </a:lnTo>
                <a:lnTo>
                  <a:pt x="12527880" y="11029156"/>
                </a:lnTo>
                <a:close/>
              </a:path>
              <a:path w="13852525" h="11308715">
                <a:moveTo>
                  <a:pt x="7638137" y="10546556"/>
                </a:moveTo>
                <a:lnTo>
                  <a:pt x="6890020" y="10546556"/>
                </a:lnTo>
                <a:lnTo>
                  <a:pt x="6887821" y="10559256"/>
                </a:lnTo>
                <a:lnTo>
                  <a:pt x="7563947" y="11270456"/>
                </a:lnTo>
                <a:lnTo>
                  <a:pt x="7686195" y="10813256"/>
                </a:lnTo>
                <a:lnTo>
                  <a:pt x="9478281" y="10813256"/>
                </a:lnTo>
                <a:lnTo>
                  <a:pt x="9437147" y="10660856"/>
                </a:lnTo>
                <a:lnTo>
                  <a:pt x="10524376" y="10660856"/>
                </a:lnTo>
                <a:lnTo>
                  <a:pt x="10516980" y="10648156"/>
                </a:lnTo>
                <a:lnTo>
                  <a:pt x="8499343" y="10648156"/>
                </a:lnTo>
                <a:lnTo>
                  <a:pt x="8414694" y="10597356"/>
                </a:lnTo>
                <a:lnTo>
                  <a:pt x="7686069" y="10597356"/>
                </a:lnTo>
                <a:lnTo>
                  <a:pt x="7638137" y="10546556"/>
                </a:lnTo>
                <a:close/>
              </a:path>
              <a:path w="13852525" h="11308715">
                <a:moveTo>
                  <a:pt x="3612099" y="9848056"/>
                </a:moveTo>
                <a:lnTo>
                  <a:pt x="3339678" y="10013156"/>
                </a:lnTo>
                <a:lnTo>
                  <a:pt x="3128616" y="11143456"/>
                </a:lnTo>
                <a:lnTo>
                  <a:pt x="3401069" y="10978356"/>
                </a:lnTo>
                <a:lnTo>
                  <a:pt x="3612099" y="9848056"/>
                </a:lnTo>
                <a:close/>
              </a:path>
              <a:path w="13852525" h="11308715">
                <a:moveTo>
                  <a:pt x="9488564" y="10851356"/>
                </a:moveTo>
                <a:lnTo>
                  <a:pt x="8556681" y="10851356"/>
                </a:lnTo>
                <a:lnTo>
                  <a:pt x="9567405" y="11143456"/>
                </a:lnTo>
                <a:lnTo>
                  <a:pt x="9488564" y="10851356"/>
                </a:lnTo>
                <a:close/>
              </a:path>
              <a:path w="13852525" h="11308715">
                <a:moveTo>
                  <a:pt x="5481518" y="9708356"/>
                </a:moveTo>
                <a:lnTo>
                  <a:pt x="5121885" y="10089356"/>
                </a:lnTo>
                <a:lnTo>
                  <a:pt x="5288310" y="11092656"/>
                </a:lnTo>
                <a:lnTo>
                  <a:pt x="5647953" y="10711656"/>
                </a:lnTo>
                <a:lnTo>
                  <a:pt x="5481518" y="9708356"/>
                </a:lnTo>
                <a:close/>
              </a:path>
              <a:path w="13852525" h="11308715">
                <a:moveTo>
                  <a:pt x="13851902" y="10571956"/>
                </a:moveTo>
                <a:lnTo>
                  <a:pt x="13158437" y="10838656"/>
                </a:lnTo>
                <a:lnTo>
                  <a:pt x="13506593" y="11029156"/>
                </a:lnTo>
                <a:lnTo>
                  <a:pt x="13851902" y="10889456"/>
                </a:lnTo>
                <a:lnTo>
                  <a:pt x="13851902" y="10571956"/>
                </a:lnTo>
                <a:close/>
              </a:path>
              <a:path w="13852525" h="11308715">
                <a:moveTo>
                  <a:pt x="6806761" y="10102056"/>
                </a:moveTo>
                <a:lnTo>
                  <a:pt x="6214962" y="10102056"/>
                </a:lnTo>
                <a:lnTo>
                  <a:pt x="6210816" y="10114756"/>
                </a:lnTo>
                <a:lnTo>
                  <a:pt x="6660446" y="10965656"/>
                </a:lnTo>
                <a:lnTo>
                  <a:pt x="6890020" y="10546556"/>
                </a:lnTo>
                <a:lnTo>
                  <a:pt x="7638137" y="10546556"/>
                </a:lnTo>
                <a:lnTo>
                  <a:pt x="7458393" y="10356056"/>
                </a:lnTo>
                <a:lnTo>
                  <a:pt x="6941610" y="10356056"/>
                </a:lnTo>
                <a:lnTo>
                  <a:pt x="6806761" y="10102056"/>
                </a:lnTo>
                <a:close/>
              </a:path>
              <a:path w="13852525" h="11308715">
                <a:moveTo>
                  <a:pt x="11697937" y="10241756"/>
                </a:moveTo>
                <a:lnTo>
                  <a:pt x="10502769" y="10483056"/>
                </a:lnTo>
                <a:lnTo>
                  <a:pt x="10933949" y="10902156"/>
                </a:lnTo>
                <a:lnTo>
                  <a:pt x="12129107" y="10660856"/>
                </a:lnTo>
                <a:lnTo>
                  <a:pt x="11697937" y="10241756"/>
                </a:lnTo>
                <a:close/>
              </a:path>
              <a:path w="13852525" h="11308715">
                <a:moveTo>
                  <a:pt x="4363898" y="9390856"/>
                </a:moveTo>
                <a:lnTo>
                  <a:pt x="4013595" y="9619456"/>
                </a:lnTo>
                <a:lnTo>
                  <a:pt x="3860447" y="10673556"/>
                </a:lnTo>
                <a:lnTo>
                  <a:pt x="4210719" y="10457656"/>
                </a:lnTo>
                <a:lnTo>
                  <a:pt x="4363898" y="9390856"/>
                </a:lnTo>
                <a:close/>
              </a:path>
              <a:path w="13852525" h="11308715">
                <a:moveTo>
                  <a:pt x="10524376" y="10660856"/>
                </a:moveTo>
                <a:lnTo>
                  <a:pt x="9441827" y="10660856"/>
                </a:lnTo>
                <a:lnTo>
                  <a:pt x="10531773" y="10673556"/>
                </a:lnTo>
                <a:lnTo>
                  <a:pt x="10524376" y="10660856"/>
                </a:lnTo>
                <a:close/>
              </a:path>
              <a:path w="13852525" h="11308715">
                <a:moveTo>
                  <a:pt x="9253203" y="10025856"/>
                </a:moveTo>
                <a:lnTo>
                  <a:pt x="7875927" y="10025856"/>
                </a:lnTo>
                <a:lnTo>
                  <a:pt x="8408372" y="10305256"/>
                </a:lnTo>
                <a:lnTo>
                  <a:pt x="8499343" y="10648156"/>
                </a:lnTo>
                <a:lnTo>
                  <a:pt x="10516980" y="10648156"/>
                </a:lnTo>
                <a:lnTo>
                  <a:pt x="10413427" y="10470356"/>
                </a:lnTo>
                <a:lnTo>
                  <a:pt x="9327893" y="10470356"/>
                </a:lnTo>
                <a:lnTo>
                  <a:pt x="8539708" y="10241756"/>
                </a:lnTo>
                <a:lnTo>
                  <a:pt x="8539834" y="10038556"/>
                </a:lnTo>
                <a:lnTo>
                  <a:pt x="9256753" y="10038556"/>
                </a:lnTo>
                <a:lnTo>
                  <a:pt x="9253203" y="10025856"/>
                </a:lnTo>
                <a:close/>
              </a:path>
              <a:path w="13852525" h="11308715">
                <a:moveTo>
                  <a:pt x="9207049" y="9860756"/>
                </a:moveTo>
                <a:lnTo>
                  <a:pt x="7259580" y="9860756"/>
                </a:lnTo>
                <a:lnTo>
                  <a:pt x="7685860" y="10254456"/>
                </a:lnTo>
                <a:lnTo>
                  <a:pt x="7686069" y="10597356"/>
                </a:lnTo>
                <a:lnTo>
                  <a:pt x="8414694" y="10597356"/>
                </a:lnTo>
                <a:lnTo>
                  <a:pt x="7822149" y="10241756"/>
                </a:lnTo>
                <a:lnTo>
                  <a:pt x="7875927" y="10025856"/>
                </a:lnTo>
                <a:lnTo>
                  <a:pt x="9253203" y="10025856"/>
                </a:lnTo>
                <a:lnTo>
                  <a:pt x="9207049" y="9860756"/>
                </a:lnTo>
                <a:close/>
              </a:path>
              <a:path w="13852525" h="11308715">
                <a:moveTo>
                  <a:pt x="13475066" y="9759156"/>
                </a:moveTo>
                <a:lnTo>
                  <a:pt x="12227920" y="10305256"/>
                </a:lnTo>
                <a:lnTo>
                  <a:pt x="12673708" y="10546556"/>
                </a:lnTo>
                <a:lnTo>
                  <a:pt x="13851902" y="10025856"/>
                </a:lnTo>
                <a:lnTo>
                  <a:pt x="13851902" y="9962356"/>
                </a:lnTo>
                <a:lnTo>
                  <a:pt x="13475066" y="9759156"/>
                </a:lnTo>
                <a:close/>
              </a:path>
              <a:path w="13852525" h="11308715">
                <a:moveTo>
                  <a:pt x="918223" y="9301956"/>
                </a:moveTo>
                <a:lnTo>
                  <a:pt x="874706" y="9314656"/>
                </a:lnTo>
                <a:lnTo>
                  <a:pt x="182915" y="10495756"/>
                </a:lnTo>
                <a:lnTo>
                  <a:pt x="226443" y="10470356"/>
                </a:lnTo>
                <a:lnTo>
                  <a:pt x="918223" y="9301956"/>
                </a:lnTo>
                <a:close/>
              </a:path>
              <a:path w="13852525" h="11308715">
                <a:moveTo>
                  <a:pt x="9256753" y="10038556"/>
                </a:moveTo>
                <a:lnTo>
                  <a:pt x="8539834" y="10038556"/>
                </a:lnTo>
                <a:lnTo>
                  <a:pt x="9147072" y="10152856"/>
                </a:lnTo>
                <a:lnTo>
                  <a:pt x="9327893" y="10470356"/>
                </a:lnTo>
                <a:lnTo>
                  <a:pt x="10413427" y="10470356"/>
                </a:lnTo>
                <a:lnTo>
                  <a:pt x="10272891" y="10229056"/>
                </a:lnTo>
                <a:lnTo>
                  <a:pt x="10279707" y="10229056"/>
                </a:lnTo>
                <a:lnTo>
                  <a:pt x="10877850" y="10076656"/>
                </a:lnTo>
                <a:lnTo>
                  <a:pt x="10113807" y="10076656"/>
                </a:lnTo>
                <a:lnTo>
                  <a:pt x="9263854" y="10063956"/>
                </a:lnTo>
                <a:lnTo>
                  <a:pt x="9256753" y="10038556"/>
                </a:lnTo>
                <a:close/>
              </a:path>
              <a:path w="13852525" h="11308715">
                <a:moveTo>
                  <a:pt x="6217188" y="9505156"/>
                </a:moveTo>
                <a:lnTo>
                  <a:pt x="5699250" y="9505156"/>
                </a:lnTo>
                <a:lnTo>
                  <a:pt x="5693554" y="9517856"/>
                </a:lnTo>
                <a:lnTo>
                  <a:pt x="5899569" y="10432256"/>
                </a:lnTo>
                <a:lnTo>
                  <a:pt x="6214962" y="10102056"/>
                </a:lnTo>
                <a:lnTo>
                  <a:pt x="6806761" y="10102056"/>
                </a:lnTo>
                <a:lnTo>
                  <a:pt x="6712367" y="9924256"/>
                </a:lnTo>
                <a:lnTo>
                  <a:pt x="6311860" y="9924256"/>
                </a:lnTo>
                <a:lnTo>
                  <a:pt x="6217188" y="9505156"/>
                </a:lnTo>
                <a:close/>
              </a:path>
              <a:path w="13852525" h="11308715">
                <a:moveTo>
                  <a:pt x="9853036" y="9543256"/>
                </a:moveTo>
                <a:lnTo>
                  <a:pt x="6729292" y="9543256"/>
                </a:lnTo>
                <a:lnTo>
                  <a:pt x="7027000" y="10025856"/>
                </a:lnTo>
                <a:lnTo>
                  <a:pt x="6941610" y="10356056"/>
                </a:lnTo>
                <a:lnTo>
                  <a:pt x="7458393" y="10356056"/>
                </a:lnTo>
                <a:lnTo>
                  <a:pt x="7158818" y="10038556"/>
                </a:lnTo>
                <a:lnTo>
                  <a:pt x="7259580" y="9860756"/>
                </a:lnTo>
                <a:lnTo>
                  <a:pt x="9207049" y="9860756"/>
                </a:lnTo>
                <a:lnTo>
                  <a:pt x="9850537" y="9809956"/>
                </a:lnTo>
                <a:lnTo>
                  <a:pt x="11233329" y="9809956"/>
                </a:lnTo>
                <a:lnTo>
                  <a:pt x="11116350" y="9695656"/>
                </a:lnTo>
                <a:lnTo>
                  <a:pt x="9943571" y="9695656"/>
                </a:lnTo>
                <a:lnTo>
                  <a:pt x="9853036" y="9543256"/>
                </a:lnTo>
                <a:close/>
              </a:path>
              <a:path w="13852525" h="11308715">
                <a:moveTo>
                  <a:pt x="1727580" y="9060656"/>
                </a:moveTo>
                <a:lnTo>
                  <a:pt x="1599951" y="9111456"/>
                </a:lnTo>
                <a:lnTo>
                  <a:pt x="979394" y="10229056"/>
                </a:lnTo>
                <a:lnTo>
                  <a:pt x="1107013" y="10190956"/>
                </a:lnTo>
                <a:lnTo>
                  <a:pt x="1727580" y="9060656"/>
                </a:lnTo>
                <a:close/>
              </a:path>
              <a:path w="13852525" h="11308715">
                <a:moveTo>
                  <a:pt x="5115655" y="8946356"/>
                </a:moveTo>
                <a:lnTo>
                  <a:pt x="4687553" y="9213056"/>
                </a:lnTo>
                <a:lnTo>
                  <a:pt x="4592258" y="10203656"/>
                </a:lnTo>
                <a:lnTo>
                  <a:pt x="5020360" y="9936956"/>
                </a:lnTo>
                <a:lnTo>
                  <a:pt x="5115655" y="8946356"/>
                </a:lnTo>
                <a:close/>
              </a:path>
              <a:path w="13852525" h="11308715">
                <a:moveTo>
                  <a:pt x="11233329" y="9809956"/>
                </a:moveTo>
                <a:lnTo>
                  <a:pt x="9850537" y="9809956"/>
                </a:lnTo>
                <a:lnTo>
                  <a:pt x="10113807" y="10076656"/>
                </a:lnTo>
                <a:lnTo>
                  <a:pt x="10877850" y="10076656"/>
                </a:lnTo>
                <a:lnTo>
                  <a:pt x="11376302" y="9949656"/>
                </a:lnTo>
                <a:lnTo>
                  <a:pt x="11233329" y="9809956"/>
                </a:lnTo>
                <a:close/>
              </a:path>
              <a:path w="13852525" h="11308715">
                <a:moveTo>
                  <a:pt x="12433862" y="9213056"/>
                </a:moveTo>
                <a:lnTo>
                  <a:pt x="11297383" y="9771856"/>
                </a:lnTo>
                <a:lnTo>
                  <a:pt x="11840833" y="10063956"/>
                </a:lnTo>
                <a:lnTo>
                  <a:pt x="12977322" y="9505156"/>
                </a:lnTo>
                <a:lnTo>
                  <a:pt x="12433862" y="9213056"/>
                </a:lnTo>
                <a:close/>
              </a:path>
              <a:path w="13852525" h="11308715">
                <a:moveTo>
                  <a:pt x="2536927" y="8832056"/>
                </a:moveTo>
                <a:lnTo>
                  <a:pt x="2325217" y="8908256"/>
                </a:lnTo>
                <a:lnTo>
                  <a:pt x="1775893" y="9975056"/>
                </a:lnTo>
                <a:lnTo>
                  <a:pt x="1987583" y="9911556"/>
                </a:lnTo>
                <a:lnTo>
                  <a:pt x="2536927" y="8832056"/>
                </a:lnTo>
                <a:close/>
              </a:path>
              <a:path w="13852525" h="11308715">
                <a:moveTo>
                  <a:pt x="10489852" y="9111456"/>
                </a:moveTo>
                <a:lnTo>
                  <a:pt x="6315661" y="9111456"/>
                </a:lnTo>
                <a:lnTo>
                  <a:pt x="6472200" y="9644856"/>
                </a:lnTo>
                <a:lnTo>
                  <a:pt x="6311860" y="9924256"/>
                </a:lnTo>
                <a:lnTo>
                  <a:pt x="6712367" y="9924256"/>
                </a:lnTo>
                <a:lnTo>
                  <a:pt x="6591003" y="9695656"/>
                </a:lnTo>
                <a:lnTo>
                  <a:pt x="6729292" y="9543256"/>
                </a:lnTo>
                <a:lnTo>
                  <a:pt x="9853036" y="9543256"/>
                </a:lnTo>
                <a:lnTo>
                  <a:pt x="9830402" y="9505156"/>
                </a:lnTo>
                <a:lnTo>
                  <a:pt x="10466644" y="9289256"/>
                </a:lnTo>
                <a:lnTo>
                  <a:pt x="11532261" y="9289256"/>
                </a:lnTo>
                <a:lnTo>
                  <a:pt x="11783015" y="9149556"/>
                </a:lnTo>
                <a:lnTo>
                  <a:pt x="10527909" y="9149556"/>
                </a:lnTo>
                <a:lnTo>
                  <a:pt x="10489852" y="9111456"/>
                </a:lnTo>
                <a:close/>
              </a:path>
              <a:path w="13852525" h="11308715">
                <a:moveTo>
                  <a:pt x="5854782" y="8819356"/>
                </a:moveTo>
                <a:lnTo>
                  <a:pt x="5368265" y="8819356"/>
                </a:lnTo>
                <a:lnTo>
                  <a:pt x="5361413" y="8821283"/>
                </a:lnTo>
                <a:lnTo>
                  <a:pt x="5324057" y="9746456"/>
                </a:lnTo>
                <a:lnTo>
                  <a:pt x="5699250" y="9505156"/>
                </a:lnTo>
                <a:lnTo>
                  <a:pt x="6217188" y="9505156"/>
                </a:lnTo>
                <a:lnTo>
                  <a:pt x="6185631" y="9365456"/>
                </a:lnTo>
                <a:lnTo>
                  <a:pt x="5832366" y="9365456"/>
                </a:lnTo>
                <a:lnTo>
                  <a:pt x="5854782" y="8819356"/>
                </a:lnTo>
                <a:close/>
              </a:path>
              <a:path w="13852525" h="11308715">
                <a:moveTo>
                  <a:pt x="3346275" y="8603456"/>
                </a:moveTo>
                <a:lnTo>
                  <a:pt x="3050472" y="8692356"/>
                </a:lnTo>
                <a:lnTo>
                  <a:pt x="2572382" y="9721056"/>
                </a:lnTo>
                <a:lnTo>
                  <a:pt x="2868174" y="9619456"/>
                </a:lnTo>
                <a:lnTo>
                  <a:pt x="3346275" y="8603456"/>
                </a:lnTo>
                <a:close/>
              </a:path>
              <a:path w="13852525" h="11308715">
                <a:moveTo>
                  <a:pt x="11532261" y="9289256"/>
                </a:moveTo>
                <a:lnTo>
                  <a:pt x="10466644" y="9289256"/>
                </a:lnTo>
                <a:lnTo>
                  <a:pt x="10798718" y="9467056"/>
                </a:lnTo>
                <a:lnTo>
                  <a:pt x="9943571" y="9695656"/>
                </a:lnTo>
                <a:lnTo>
                  <a:pt x="11116350" y="9695656"/>
                </a:lnTo>
                <a:lnTo>
                  <a:pt x="10999371" y="9581356"/>
                </a:lnTo>
                <a:lnTo>
                  <a:pt x="11007958" y="9581356"/>
                </a:lnTo>
                <a:lnTo>
                  <a:pt x="11532261" y="9289256"/>
                </a:lnTo>
                <a:close/>
              </a:path>
              <a:path w="13852525" h="11308715">
                <a:moveTo>
                  <a:pt x="4155632" y="8374856"/>
                </a:moveTo>
                <a:lnTo>
                  <a:pt x="3775727" y="8489156"/>
                </a:lnTo>
                <a:lnTo>
                  <a:pt x="3368860" y="9454356"/>
                </a:lnTo>
                <a:lnTo>
                  <a:pt x="3748765" y="9340056"/>
                </a:lnTo>
                <a:lnTo>
                  <a:pt x="4155632" y="8374856"/>
                </a:lnTo>
                <a:close/>
              </a:path>
              <a:path w="13852525" h="11308715">
                <a:moveTo>
                  <a:pt x="11727822" y="8590756"/>
                </a:moveTo>
                <a:lnTo>
                  <a:pt x="6039638" y="8590756"/>
                </a:lnTo>
                <a:lnTo>
                  <a:pt x="6052663" y="9136856"/>
                </a:lnTo>
                <a:lnTo>
                  <a:pt x="5832366" y="9365456"/>
                </a:lnTo>
                <a:lnTo>
                  <a:pt x="6185631" y="9365456"/>
                </a:lnTo>
                <a:lnTo>
                  <a:pt x="6151205" y="9213056"/>
                </a:lnTo>
                <a:lnTo>
                  <a:pt x="6315661" y="9111456"/>
                </a:lnTo>
                <a:lnTo>
                  <a:pt x="10489852" y="9111456"/>
                </a:lnTo>
                <a:lnTo>
                  <a:pt x="10362993" y="8984456"/>
                </a:lnTo>
                <a:lnTo>
                  <a:pt x="10946389" y="8603456"/>
                </a:lnTo>
                <a:lnTo>
                  <a:pt x="11714521" y="8603456"/>
                </a:lnTo>
                <a:lnTo>
                  <a:pt x="11727822" y="8590756"/>
                </a:lnTo>
                <a:close/>
              </a:path>
              <a:path w="13852525" h="11308715">
                <a:moveTo>
                  <a:pt x="13851902" y="8451056"/>
                </a:moveTo>
                <a:lnTo>
                  <a:pt x="12983206" y="9124156"/>
                </a:lnTo>
                <a:lnTo>
                  <a:pt x="13494719" y="9251156"/>
                </a:lnTo>
                <a:lnTo>
                  <a:pt x="13851902" y="8959056"/>
                </a:lnTo>
                <a:lnTo>
                  <a:pt x="13851902" y="8451056"/>
                </a:lnTo>
                <a:close/>
              </a:path>
              <a:path w="13852525" h="11308715">
                <a:moveTo>
                  <a:pt x="4964979" y="8133556"/>
                </a:moveTo>
                <a:lnTo>
                  <a:pt x="4500993" y="8285956"/>
                </a:lnTo>
                <a:lnTo>
                  <a:pt x="4165328" y="9200356"/>
                </a:lnTo>
                <a:lnTo>
                  <a:pt x="4629345" y="9047956"/>
                </a:lnTo>
                <a:lnTo>
                  <a:pt x="4964979" y="8133556"/>
                </a:lnTo>
                <a:close/>
              </a:path>
              <a:path w="13852525" h="11308715">
                <a:moveTo>
                  <a:pt x="11714521" y="8603456"/>
                </a:moveTo>
                <a:lnTo>
                  <a:pt x="10946389" y="8603456"/>
                </a:lnTo>
                <a:lnTo>
                  <a:pt x="11327843" y="8692356"/>
                </a:lnTo>
                <a:lnTo>
                  <a:pt x="10527909" y="9149556"/>
                </a:lnTo>
                <a:lnTo>
                  <a:pt x="11783015" y="9149556"/>
                </a:lnTo>
                <a:lnTo>
                  <a:pt x="12033769" y="9009856"/>
                </a:lnTo>
                <a:lnTo>
                  <a:pt x="11558349" y="8743156"/>
                </a:lnTo>
                <a:lnTo>
                  <a:pt x="11568202" y="8743156"/>
                </a:lnTo>
                <a:lnTo>
                  <a:pt x="11714521" y="8603456"/>
                </a:lnTo>
                <a:close/>
              </a:path>
              <a:path w="13852525" h="11308715">
                <a:moveTo>
                  <a:pt x="12901020" y="7993856"/>
                </a:moveTo>
                <a:lnTo>
                  <a:pt x="11907469" y="8857456"/>
                </a:lnTo>
                <a:lnTo>
                  <a:pt x="12531471" y="8997156"/>
                </a:lnTo>
                <a:lnTo>
                  <a:pt x="13525022" y="8133556"/>
                </a:lnTo>
                <a:lnTo>
                  <a:pt x="12901020" y="7993856"/>
                </a:lnTo>
                <a:close/>
              </a:path>
              <a:path w="13852525" h="11308715">
                <a:moveTo>
                  <a:pt x="5725039" y="8070056"/>
                </a:moveTo>
                <a:lnTo>
                  <a:pt x="5233589" y="8070056"/>
                </a:lnTo>
                <a:lnTo>
                  <a:pt x="5226178" y="8070286"/>
                </a:lnTo>
                <a:lnTo>
                  <a:pt x="4961838" y="8933656"/>
                </a:lnTo>
                <a:lnTo>
                  <a:pt x="5361413" y="8821283"/>
                </a:lnTo>
                <a:lnTo>
                  <a:pt x="5361491" y="8819356"/>
                </a:lnTo>
                <a:lnTo>
                  <a:pt x="5854782" y="8819356"/>
                </a:lnTo>
                <a:lnTo>
                  <a:pt x="5858953" y="8717756"/>
                </a:lnTo>
                <a:lnTo>
                  <a:pt x="5526627" y="8717756"/>
                </a:lnTo>
                <a:lnTo>
                  <a:pt x="5725039" y="8070056"/>
                </a:lnTo>
                <a:close/>
              </a:path>
              <a:path w="13852525" h="11308715">
                <a:moveTo>
                  <a:pt x="5368265" y="8819356"/>
                </a:moveTo>
                <a:lnTo>
                  <a:pt x="5361491" y="8819356"/>
                </a:lnTo>
                <a:lnTo>
                  <a:pt x="5361413" y="8821283"/>
                </a:lnTo>
                <a:lnTo>
                  <a:pt x="5368265" y="8819356"/>
                </a:lnTo>
                <a:close/>
              </a:path>
              <a:path w="13852525" h="11308715">
                <a:moveTo>
                  <a:pt x="11034068" y="8031956"/>
                </a:moveTo>
                <a:lnTo>
                  <a:pt x="5911840" y="8031956"/>
                </a:lnTo>
                <a:lnTo>
                  <a:pt x="5788671" y="8552656"/>
                </a:lnTo>
                <a:lnTo>
                  <a:pt x="5526627" y="8717756"/>
                </a:lnTo>
                <a:lnTo>
                  <a:pt x="5858953" y="8717756"/>
                </a:lnTo>
                <a:lnTo>
                  <a:pt x="5861559" y="8654256"/>
                </a:lnTo>
                <a:lnTo>
                  <a:pt x="6039638" y="8590756"/>
                </a:lnTo>
                <a:lnTo>
                  <a:pt x="11727822" y="8590756"/>
                </a:lnTo>
                <a:lnTo>
                  <a:pt x="11887442" y="8438356"/>
                </a:lnTo>
                <a:lnTo>
                  <a:pt x="10969582" y="8438356"/>
                </a:lnTo>
                <a:lnTo>
                  <a:pt x="10761483" y="8324056"/>
                </a:lnTo>
                <a:lnTo>
                  <a:pt x="11034068" y="8031956"/>
                </a:lnTo>
                <a:close/>
              </a:path>
              <a:path w="13852525" h="11308715">
                <a:moveTo>
                  <a:pt x="11954577" y="7790656"/>
                </a:moveTo>
                <a:lnTo>
                  <a:pt x="11654158" y="7790656"/>
                </a:lnTo>
                <a:lnTo>
                  <a:pt x="10969582" y="8438356"/>
                </a:lnTo>
                <a:lnTo>
                  <a:pt x="11887442" y="8438356"/>
                </a:lnTo>
                <a:lnTo>
                  <a:pt x="12446113" y="7904956"/>
                </a:lnTo>
                <a:lnTo>
                  <a:pt x="11954577" y="7790656"/>
                </a:lnTo>
                <a:close/>
              </a:path>
              <a:path w="13852525" h="11308715">
                <a:moveTo>
                  <a:pt x="979970" y="7396956"/>
                </a:moveTo>
                <a:lnTo>
                  <a:pt x="935060" y="7409656"/>
                </a:lnTo>
                <a:lnTo>
                  <a:pt x="0" y="8349456"/>
                </a:lnTo>
                <a:lnTo>
                  <a:pt x="44899" y="8336756"/>
                </a:lnTo>
                <a:lnTo>
                  <a:pt x="979970" y="7396956"/>
                </a:lnTo>
                <a:close/>
              </a:path>
              <a:path w="13852525" h="11308715">
                <a:moveTo>
                  <a:pt x="1789442" y="7384256"/>
                </a:moveTo>
                <a:lnTo>
                  <a:pt x="1660137" y="7396956"/>
                </a:lnTo>
                <a:lnTo>
                  <a:pt x="804153" y="8298656"/>
                </a:lnTo>
                <a:lnTo>
                  <a:pt x="933427" y="8298656"/>
                </a:lnTo>
                <a:lnTo>
                  <a:pt x="1789442" y="7384256"/>
                </a:lnTo>
                <a:close/>
              </a:path>
              <a:path w="13852525" h="11308715">
                <a:moveTo>
                  <a:pt x="2598884" y="7371556"/>
                </a:moveTo>
                <a:lnTo>
                  <a:pt x="2385225" y="7384256"/>
                </a:lnTo>
                <a:lnTo>
                  <a:pt x="1608296" y="8260556"/>
                </a:lnTo>
                <a:lnTo>
                  <a:pt x="1821944" y="8247856"/>
                </a:lnTo>
                <a:lnTo>
                  <a:pt x="2598884" y="7371556"/>
                </a:lnTo>
                <a:close/>
              </a:path>
              <a:path w="13852525" h="11308715">
                <a:moveTo>
                  <a:pt x="3408325" y="7358856"/>
                </a:moveTo>
                <a:lnTo>
                  <a:pt x="3110324" y="7371556"/>
                </a:lnTo>
                <a:lnTo>
                  <a:pt x="2412450" y="8222456"/>
                </a:lnTo>
                <a:lnTo>
                  <a:pt x="2710472" y="8197056"/>
                </a:lnTo>
                <a:lnTo>
                  <a:pt x="3408325" y="7358856"/>
                </a:lnTo>
                <a:close/>
              </a:path>
              <a:path w="13852525" h="11308715">
                <a:moveTo>
                  <a:pt x="4217798" y="7346156"/>
                </a:moveTo>
                <a:lnTo>
                  <a:pt x="3835401" y="7358856"/>
                </a:lnTo>
                <a:lnTo>
                  <a:pt x="3216593" y="8171656"/>
                </a:lnTo>
                <a:lnTo>
                  <a:pt x="3598979" y="8158956"/>
                </a:lnTo>
                <a:lnTo>
                  <a:pt x="4217798" y="7346156"/>
                </a:lnTo>
                <a:close/>
              </a:path>
              <a:path w="13852525" h="11308715">
                <a:moveTo>
                  <a:pt x="5027260" y="7333456"/>
                </a:moveTo>
                <a:lnTo>
                  <a:pt x="4560478" y="7346156"/>
                </a:lnTo>
                <a:lnTo>
                  <a:pt x="4020736" y="8133556"/>
                </a:lnTo>
                <a:lnTo>
                  <a:pt x="4487507" y="8108156"/>
                </a:lnTo>
                <a:lnTo>
                  <a:pt x="5027260" y="7333456"/>
                </a:lnTo>
                <a:close/>
              </a:path>
              <a:path w="13852525" h="11308715">
                <a:moveTo>
                  <a:pt x="11539800" y="6863556"/>
                </a:moveTo>
                <a:lnTo>
                  <a:pt x="5944960" y="6863556"/>
                </a:lnTo>
                <a:lnTo>
                  <a:pt x="6091165" y="6939756"/>
                </a:lnTo>
                <a:lnTo>
                  <a:pt x="5750913" y="7320756"/>
                </a:lnTo>
                <a:lnTo>
                  <a:pt x="5465456" y="7333456"/>
                </a:lnTo>
                <a:lnTo>
                  <a:pt x="5285566" y="7333456"/>
                </a:lnTo>
                <a:lnTo>
                  <a:pt x="4824879" y="8082756"/>
                </a:lnTo>
                <a:lnTo>
                  <a:pt x="5226178" y="8070286"/>
                </a:lnTo>
                <a:lnTo>
                  <a:pt x="5226249" y="8070056"/>
                </a:lnTo>
                <a:lnTo>
                  <a:pt x="5725039" y="8070056"/>
                </a:lnTo>
                <a:lnTo>
                  <a:pt x="5732820" y="8044656"/>
                </a:lnTo>
                <a:lnTo>
                  <a:pt x="5911840" y="8031956"/>
                </a:lnTo>
                <a:lnTo>
                  <a:pt x="11034068" y="8031956"/>
                </a:lnTo>
                <a:lnTo>
                  <a:pt x="11045920" y="8019256"/>
                </a:lnTo>
                <a:lnTo>
                  <a:pt x="5405133" y="8019256"/>
                </a:lnTo>
                <a:lnTo>
                  <a:pt x="5764379" y="7435056"/>
                </a:lnTo>
                <a:lnTo>
                  <a:pt x="11064475" y="7435056"/>
                </a:lnTo>
                <a:lnTo>
                  <a:pt x="11337424" y="6927056"/>
                </a:lnTo>
                <a:lnTo>
                  <a:pt x="11539800" y="6863556"/>
                </a:lnTo>
                <a:close/>
              </a:path>
              <a:path w="13852525" h="11308715">
                <a:moveTo>
                  <a:pt x="5233589" y="8070056"/>
                </a:moveTo>
                <a:lnTo>
                  <a:pt x="5226249" y="8070056"/>
                </a:lnTo>
                <a:lnTo>
                  <a:pt x="5226178" y="8070286"/>
                </a:lnTo>
                <a:lnTo>
                  <a:pt x="5233589" y="8070056"/>
                </a:lnTo>
                <a:close/>
              </a:path>
              <a:path w="13852525" h="11308715">
                <a:moveTo>
                  <a:pt x="11064475" y="7435056"/>
                </a:moveTo>
                <a:lnTo>
                  <a:pt x="5764379" y="7435056"/>
                </a:lnTo>
                <a:lnTo>
                  <a:pt x="5932290" y="7473156"/>
                </a:lnTo>
                <a:lnTo>
                  <a:pt x="5689010" y="7930356"/>
                </a:lnTo>
                <a:lnTo>
                  <a:pt x="5405133" y="8019256"/>
                </a:lnTo>
                <a:lnTo>
                  <a:pt x="11045920" y="8019256"/>
                </a:lnTo>
                <a:lnTo>
                  <a:pt x="11247395" y="7803356"/>
                </a:lnTo>
                <a:lnTo>
                  <a:pt x="11654158" y="7790656"/>
                </a:lnTo>
                <a:lnTo>
                  <a:pt x="11954577" y="7790656"/>
                </a:lnTo>
                <a:lnTo>
                  <a:pt x="11899962" y="7777956"/>
                </a:lnTo>
                <a:lnTo>
                  <a:pt x="11910475" y="7777956"/>
                </a:lnTo>
                <a:lnTo>
                  <a:pt x="11996729" y="7638256"/>
                </a:lnTo>
                <a:lnTo>
                  <a:pt x="11228548" y="7638256"/>
                </a:lnTo>
                <a:lnTo>
                  <a:pt x="10989414" y="7574756"/>
                </a:lnTo>
                <a:lnTo>
                  <a:pt x="11064475" y="7435056"/>
                </a:lnTo>
                <a:close/>
              </a:path>
              <a:path w="13852525" h="11308715">
                <a:moveTo>
                  <a:pt x="13715058" y="6647656"/>
                </a:moveTo>
                <a:lnTo>
                  <a:pt x="13049916" y="6673056"/>
                </a:lnTo>
                <a:lnTo>
                  <a:pt x="12278526" y="7790656"/>
                </a:lnTo>
                <a:lnTo>
                  <a:pt x="12943658" y="7765256"/>
                </a:lnTo>
                <a:lnTo>
                  <a:pt x="13715058" y="6647656"/>
                </a:lnTo>
                <a:close/>
              </a:path>
              <a:path w="13852525" h="11308715">
                <a:moveTo>
                  <a:pt x="13851902" y="7219156"/>
                </a:moveTo>
                <a:lnTo>
                  <a:pt x="13431926" y="7765256"/>
                </a:lnTo>
                <a:lnTo>
                  <a:pt x="13851902" y="7752556"/>
                </a:lnTo>
                <a:lnTo>
                  <a:pt x="13851902" y="7219156"/>
                </a:lnTo>
                <a:close/>
              </a:path>
              <a:path w="13852525" h="11308715">
                <a:moveTo>
                  <a:pt x="12514256" y="6800056"/>
                </a:moveTo>
                <a:lnTo>
                  <a:pt x="11742176" y="6800056"/>
                </a:lnTo>
                <a:lnTo>
                  <a:pt x="11228548" y="7638256"/>
                </a:lnTo>
                <a:lnTo>
                  <a:pt x="11996729" y="7638256"/>
                </a:lnTo>
                <a:lnTo>
                  <a:pt x="12514256" y="6800056"/>
                </a:lnTo>
                <a:close/>
              </a:path>
              <a:path w="13852525" h="11308715">
                <a:moveTo>
                  <a:pt x="5518683" y="6653162"/>
                </a:moveTo>
                <a:lnTo>
                  <a:pt x="4909473" y="7244556"/>
                </a:lnTo>
                <a:lnTo>
                  <a:pt x="5292969" y="7333456"/>
                </a:lnTo>
                <a:lnTo>
                  <a:pt x="5465456" y="7333456"/>
                </a:lnTo>
                <a:lnTo>
                  <a:pt x="5944960" y="6863556"/>
                </a:lnTo>
                <a:lnTo>
                  <a:pt x="11539800" y="6863556"/>
                </a:lnTo>
                <a:lnTo>
                  <a:pt x="11742176" y="6800056"/>
                </a:lnTo>
                <a:lnTo>
                  <a:pt x="12514256" y="6800056"/>
                </a:lnTo>
                <a:lnTo>
                  <a:pt x="12529939" y="6774656"/>
                </a:lnTo>
                <a:lnTo>
                  <a:pt x="11020240" y="6774656"/>
                </a:lnTo>
                <a:lnTo>
                  <a:pt x="11026344" y="6749256"/>
                </a:lnTo>
                <a:lnTo>
                  <a:pt x="5960991" y="6749256"/>
                </a:lnTo>
                <a:lnTo>
                  <a:pt x="5693135" y="6685756"/>
                </a:lnTo>
                <a:lnTo>
                  <a:pt x="5737997" y="6660356"/>
                </a:lnTo>
                <a:lnTo>
                  <a:pt x="5531297" y="6660356"/>
                </a:lnTo>
                <a:lnTo>
                  <a:pt x="5518683" y="6653162"/>
                </a:lnTo>
                <a:close/>
              </a:path>
              <a:path w="13852525" h="11308715">
                <a:moveTo>
                  <a:pt x="4847957" y="6482556"/>
                </a:moveTo>
                <a:lnTo>
                  <a:pt x="4151925" y="7079456"/>
                </a:lnTo>
                <a:lnTo>
                  <a:pt x="4590069" y="7181056"/>
                </a:lnTo>
                <a:lnTo>
                  <a:pt x="5286111" y="6584156"/>
                </a:lnTo>
                <a:lnTo>
                  <a:pt x="4847957" y="6482556"/>
                </a:lnTo>
                <a:close/>
              </a:path>
              <a:path w="13852525" h="11308715">
                <a:moveTo>
                  <a:pt x="4171558" y="6304756"/>
                </a:moveTo>
                <a:lnTo>
                  <a:pt x="3394367" y="6914356"/>
                </a:lnTo>
                <a:lnTo>
                  <a:pt x="3753519" y="7003256"/>
                </a:lnTo>
                <a:lnTo>
                  <a:pt x="4530731" y="6393656"/>
                </a:lnTo>
                <a:lnTo>
                  <a:pt x="4171558" y="6304756"/>
                </a:lnTo>
                <a:close/>
              </a:path>
              <a:path w="13852525" h="11308715">
                <a:moveTo>
                  <a:pt x="3495139" y="6139656"/>
                </a:moveTo>
                <a:lnTo>
                  <a:pt x="2636809" y="6761956"/>
                </a:lnTo>
                <a:lnTo>
                  <a:pt x="2916968" y="6825456"/>
                </a:lnTo>
                <a:lnTo>
                  <a:pt x="3775330" y="6203156"/>
                </a:lnTo>
                <a:lnTo>
                  <a:pt x="3495139" y="6139656"/>
                </a:lnTo>
                <a:close/>
              </a:path>
              <a:path w="13852525" h="11308715">
                <a:moveTo>
                  <a:pt x="12278779" y="5809456"/>
                </a:moveTo>
                <a:lnTo>
                  <a:pt x="11571134" y="5809456"/>
                </a:lnTo>
                <a:lnTo>
                  <a:pt x="11275332" y="6774656"/>
                </a:lnTo>
                <a:lnTo>
                  <a:pt x="12529939" y="6774656"/>
                </a:lnTo>
                <a:lnTo>
                  <a:pt x="12561304" y="6723856"/>
                </a:lnTo>
                <a:lnTo>
                  <a:pt x="11986744" y="6723856"/>
                </a:lnTo>
                <a:lnTo>
                  <a:pt x="11997286" y="6723626"/>
                </a:lnTo>
                <a:lnTo>
                  <a:pt x="12278779" y="5809456"/>
                </a:lnTo>
                <a:close/>
              </a:path>
              <a:path w="13852525" h="11308715">
                <a:moveTo>
                  <a:pt x="11117907" y="6368256"/>
                </a:moveTo>
                <a:lnTo>
                  <a:pt x="6253903" y="6368256"/>
                </a:lnTo>
                <a:lnTo>
                  <a:pt x="6369868" y="6482556"/>
                </a:lnTo>
                <a:lnTo>
                  <a:pt x="5960991" y="6749256"/>
                </a:lnTo>
                <a:lnTo>
                  <a:pt x="11026344" y="6749256"/>
                </a:lnTo>
                <a:lnTo>
                  <a:pt x="11117907" y="6368256"/>
                </a:lnTo>
                <a:close/>
              </a:path>
              <a:path w="13852525" h="11308715">
                <a:moveTo>
                  <a:pt x="11997286" y="6723626"/>
                </a:moveTo>
                <a:lnTo>
                  <a:pt x="11986744" y="6723856"/>
                </a:lnTo>
                <a:lnTo>
                  <a:pt x="11997215" y="6723856"/>
                </a:lnTo>
                <a:lnTo>
                  <a:pt x="11997286" y="6723626"/>
                </a:lnTo>
                <a:close/>
              </a:path>
              <a:path w="13852525" h="11308715">
                <a:moveTo>
                  <a:pt x="12569146" y="6711156"/>
                </a:moveTo>
                <a:lnTo>
                  <a:pt x="11997286" y="6723626"/>
                </a:lnTo>
                <a:lnTo>
                  <a:pt x="11997215" y="6723856"/>
                </a:lnTo>
                <a:lnTo>
                  <a:pt x="12561304" y="6723856"/>
                </a:lnTo>
                <a:lnTo>
                  <a:pt x="12569146" y="6711156"/>
                </a:lnTo>
                <a:close/>
              </a:path>
              <a:path w="13852525" h="11308715">
                <a:moveTo>
                  <a:pt x="5524355" y="6647656"/>
                </a:moveTo>
                <a:lnTo>
                  <a:pt x="5518683" y="6653162"/>
                </a:lnTo>
                <a:lnTo>
                  <a:pt x="5531297" y="6660356"/>
                </a:lnTo>
                <a:lnTo>
                  <a:pt x="5524355" y="6647656"/>
                </a:lnTo>
                <a:close/>
              </a:path>
              <a:path w="13852525" h="11308715">
                <a:moveTo>
                  <a:pt x="5760427" y="6647656"/>
                </a:moveTo>
                <a:lnTo>
                  <a:pt x="5524355" y="6647656"/>
                </a:lnTo>
                <a:lnTo>
                  <a:pt x="5531297" y="6660356"/>
                </a:lnTo>
                <a:lnTo>
                  <a:pt x="5737997" y="6660356"/>
                </a:lnTo>
                <a:lnTo>
                  <a:pt x="5760427" y="6647656"/>
                </a:lnTo>
                <a:close/>
              </a:path>
              <a:path w="13852525" h="11308715">
                <a:moveTo>
                  <a:pt x="6424317" y="5606831"/>
                </a:moveTo>
                <a:lnTo>
                  <a:pt x="5657293" y="5809456"/>
                </a:lnTo>
                <a:lnTo>
                  <a:pt x="5922374" y="6063456"/>
                </a:lnTo>
                <a:lnTo>
                  <a:pt x="5916343" y="6063456"/>
                </a:lnTo>
                <a:lnTo>
                  <a:pt x="5197244" y="6469856"/>
                </a:lnTo>
                <a:lnTo>
                  <a:pt x="5518683" y="6653162"/>
                </a:lnTo>
                <a:lnTo>
                  <a:pt x="5524355" y="6647656"/>
                </a:lnTo>
                <a:lnTo>
                  <a:pt x="5760427" y="6647656"/>
                </a:lnTo>
                <a:lnTo>
                  <a:pt x="6253903" y="6368256"/>
                </a:lnTo>
                <a:lnTo>
                  <a:pt x="11117907" y="6368256"/>
                </a:lnTo>
                <a:lnTo>
                  <a:pt x="11142323" y="6266656"/>
                </a:lnTo>
                <a:lnTo>
                  <a:pt x="6296677" y="6266656"/>
                </a:lnTo>
                <a:lnTo>
                  <a:pt x="6063354" y="6139656"/>
                </a:lnTo>
                <a:lnTo>
                  <a:pt x="6663200" y="5987256"/>
                </a:lnTo>
                <a:lnTo>
                  <a:pt x="10839816" y="5987256"/>
                </a:lnTo>
                <a:lnTo>
                  <a:pt x="10837873" y="5898356"/>
                </a:lnTo>
                <a:lnTo>
                  <a:pt x="6728318" y="5898356"/>
                </a:lnTo>
                <a:lnTo>
                  <a:pt x="6543162" y="5720556"/>
                </a:lnTo>
                <a:lnTo>
                  <a:pt x="7526064" y="5720556"/>
                </a:lnTo>
                <a:lnTo>
                  <a:pt x="7221518" y="5657056"/>
                </a:lnTo>
                <a:lnTo>
                  <a:pt x="7199043" y="5618956"/>
                </a:lnTo>
                <a:lnTo>
                  <a:pt x="6431280" y="5618956"/>
                </a:lnTo>
                <a:lnTo>
                  <a:pt x="6424317" y="5606831"/>
                </a:lnTo>
                <a:close/>
              </a:path>
              <a:path w="13852525" h="11308715">
                <a:moveTo>
                  <a:pt x="2818762" y="5961856"/>
                </a:moveTo>
                <a:lnTo>
                  <a:pt x="1879251" y="6596856"/>
                </a:lnTo>
                <a:lnTo>
                  <a:pt x="2080439" y="6634956"/>
                </a:lnTo>
                <a:lnTo>
                  <a:pt x="3019960" y="5999956"/>
                </a:lnTo>
                <a:lnTo>
                  <a:pt x="2818762" y="5961856"/>
                </a:lnTo>
                <a:close/>
              </a:path>
              <a:path w="13852525" h="11308715">
                <a:moveTo>
                  <a:pt x="13512185" y="5123656"/>
                </a:moveTo>
                <a:lnTo>
                  <a:pt x="12850645" y="5326856"/>
                </a:lnTo>
                <a:lnTo>
                  <a:pt x="12369675" y="6634956"/>
                </a:lnTo>
                <a:lnTo>
                  <a:pt x="13031205" y="6431756"/>
                </a:lnTo>
                <a:lnTo>
                  <a:pt x="13512185" y="5123656"/>
                </a:lnTo>
                <a:close/>
              </a:path>
              <a:path w="13852525" h="11308715">
                <a:moveTo>
                  <a:pt x="2142343" y="5784056"/>
                </a:moveTo>
                <a:lnTo>
                  <a:pt x="1121683" y="6431756"/>
                </a:lnTo>
                <a:lnTo>
                  <a:pt x="1243888" y="6457156"/>
                </a:lnTo>
                <a:lnTo>
                  <a:pt x="2264569" y="5809456"/>
                </a:lnTo>
                <a:lnTo>
                  <a:pt x="2142343" y="5784056"/>
                </a:lnTo>
                <a:close/>
              </a:path>
              <a:path w="13852525" h="11308715">
                <a:moveTo>
                  <a:pt x="5331094" y="5733256"/>
                </a:moveTo>
                <a:lnTo>
                  <a:pt x="4534301" y="6126956"/>
                </a:lnTo>
                <a:lnTo>
                  <a:pt x="4916153" y="6330156"/>
                </a:lnTo>
                <a:lnTo>
                  <a:pt x="5712935" y="5936456"/>
                </a:lnTo>
                <a:lnTo>
                  <a:pt x="5331094" y="5733256"/>
                </a:lnTo>
                <a:close/>
              </a:path>
              <a:path w="13852525" h="11308715">
                <a:moveTo>
                  <a:pt x="13851902" y="5530056"/>
                </a:moveTo>
                <a:lnTo>
                  <a:pt x="13523546" y="6304756"/>
                </a:lnTo>
                <a:lnTo>
                  <a:pt x="13851902" y="6203156"/>
                </a:lnTo>
                <a:lnTo>
                  <a:pt x="13851902" y="5530056"/>
                </a:lnTo>
                <a:close/>
              </a:path>
              <a:path w="13852525" h="11308715">
                <a:moveTo>
                  <a:pt x="1509179" y="5618956"/>
                </a:moveTo>
                <a:lnTo>
                  <a:pt x="1465955" y="5618956"/>
                </a:lnTo>
                <a:lnTo>
                  <a:pt x="364135" y="6266656"/>
                </a:lnTo>
                <a:lnTo>
                  <a:pt x="407359" y="6266656"/>
                </a:lnTo>
                <a:lnTo>
                  <a:pt x="1509179" y="5618956"/>
                </a:lnTo>
                <a:close/>
              </a:path>
              <a:path w="13852525" h="11308715">
                <a:moveTo>
                  <a:pt x="11840169" y="4882356"/>
                </a:moveTo>
                <a:lnTo>
                  <a:pt x="11137440" y="4882356"/>
                </a:lnTo>
                <a:lnTo>
                  <a:pt x="11093704" y="5898356"/>
                </a:lnTo>
                <a:lnTo>
                  <a:pt x="10839816" y="5987256"/>
                </a:lnTo>
                <a:lnTo>
                  <a:pt x="6663200" y="5987256"/>
                </a:lnTo>
                <a:lnTo>
                  <a:pt x="6742904" y="6126956"/>
                </a:lnTo>
                <a:lnTo>
                  <a:pt x="6296677" y="6266656"/>
                </a:lnTo>
                <a:lnTo>
                  <a:pt x="11142323" y="6266656"/>
                </a:lnTo>
                <a:lnTo>
                  <a:pt x="11197261" y="6038056"/>
                </a:lnTo>
                <a:lnTo>
                  <a:pt x="11571134" y="5809456"/>
                </a:lnTo>
                <a:lnTo>
                  <a:pt x="12278779" y="5809456"/>
                </a:lnTo>
                <a:lnTo>
                  <a:pt x="12321796" y="5669756"/>
                </a:lnTo>
                <a:lnTo>
                  <a:pt x="11797054" y="5669756"/>
                </a:lnTo>
                <a:lnTo>
                  <a:pt x="11806857" y="5666748"/>
                </a:lnTo>
                <a:lnTo>
                  <a:pt x="11840169" y="4882356"/>
                </a:lnTo>
                <a:close/>
              </a:path>
              <a:path w="13852525" h="11308715">
                <a:moveTo>
                  <a:pt x="4745855" y="5390356"/>
                </a:moveTo>
                <a:lnTo>
                  <a:pt x="3871369" y="5784056"/>
                </a:lnTo>
                <a:lnTo>
                  <a:pt x="4184595" y="5949156"/>
                </a:lnTo>
                <a:lnTo>
                  <a:pt x="5059081" y="5568156"/>
                </a:lnTo>
                <a:lnTo>
                  <a:pt x="4745855" y="5390356"/>
                </a:lnTo>
                <a:close/>
              </a:path>
              <a:path w="13852525" h="11308715">
                <a:moveTo>
                  <a:pt x="7526064" y="5720556"/>
                </a:moveTo>
                <a:lnTo>
                  <a:pt x="7139688" y="5720556"/>
                </a:lnTo>
                <a:lnTo>
                  <a:pt x="7179875" y="5872956"/>
                </a:lnTo>
                <a:lnTo>
                  <a:pt x="6728318" y="5898356"/>
                </a:lnTo>
                <a:lnTo>
                  <a:pt x="10837873" y="5898356"/>
                </a:lnTo>
                <a:lnTo>
                  <a:pt x="10834542" y="5745956"/>
                </a:lnTo>
                <a:lnTo>
                  <a:pt x="7647882" y="5745956"/>
                </a:lnTo>
                <a:lnTo>
                  <a:pt x="7526064" y="5720556"/>
                </a:lnTo>
                <a:close/>
              </a:path>
              <a:path w="13852525" h="11308715">
                <a:moveTo>
                  <a:pt x="7709259" y="5441156"/>
                </a:moveTo>
                <a:lnTo>
                  <a:pt x="7094160" y="5441156"/>
                </a:lnTo>
                <a:lnTo>
                  <a:pt x="7647651" y="5593556"/>
                </a:lnTo>
                <a:lnTo>
                  <a:pt x="7647882" y="5745956"/>
                </a:lnTo>
                <a:lnTo>
                  <a:pt x="10834542" y="5745956"/>
                </a:lnTo>
                <a:lnTo>
                  <a:pt x="10831212" y="5593556"/>
                </a:lnTo>
                <a:lnTo>
                  <a:pt x="7807228" y="5593556"/>
                </a:lnTo>
                <a:lnTo>
                  <a:pt x="7739743" y="5555456"/>
                </a:lnTo>
                <a:lnTo>
                  <a:pt x="7709259" y="5441156"/>
                </a:lnTo>
                <a:close/>
              </a:path>
              <a:path w="13852525" h="11308715">
                <a:moveTo>
                  <a:pt x="11806857" y="5666748"/>
                </a:moveTo>
                <a:lnTo>
                  <a:pt x="11797054" y="5669756"/>
                </a:lnTo>
                <a:lnTo>
                  <a:pt x="11806729" y="5669756"/>
                </a:lnTo>
                <a:lnTo>
                  <a:pt x="11806857" y="5666748"/>
                </a:lnTo>
                <a:close/>
              </a:path>
              <a:path w="13852525" h="11308715">
                <a:moveTo>
                  <a:pt x="12376544" y="5491956"/>
                </a:moveTo>
                <a:lnTo>
                  <a:pt x="11806857" y="5666748"/>
                </a:lnTo>
                <a:lnTo>
                  <a:pt x="11806729" y="5669756"/>
                </a:lnTo>
                <a:lnTo>
                  <a:pt x="12321796" y="5669756"/>
                </a:lnTo>
                <a:lnTo>
                  <a:pt x="12376544" y="5491956"/>
                </a:lnTo>
                <a:close/>
              </a:path>
              <a:path w="13852525" h="11308715">
                <a:moveTo>
                  <a:pt x="6426495" y="5606256"/>
                </a:moveTo>
                <a:lnTo>
                  <a:pt x="6424317" y="5606831"/>
                </a:lnTo>
                <a:lnTo>
                  <a:pt x="6431280" y="5618956"/>
                </a:lnTo>
                <a:lnTo>
                  <a:pt x="6426495" y="5606256"/>
                </a:lnTo>
                <a:close/>
              </a:path>
              <a:path w="13852525" h="11308715">
                <a:moveTo>
                  <a:pt x="7191551" y="5606256"/>
                </a:moveTo>
                <a:lnTo>
                  <a:pt x="6426495" y="5606256"/>
                </a:lnTo>
                <a:lnTo>
                  <a:pt x="6431280" y="5618956"/>
                </a:lnTo>
                <a:lnTo>
                  <a:pt x="7199043" y="5618956"/>
                </a:lnTo>
                <a:lnTo>
                  <a:pt x="7191551" y="5606256"/>
                </a:lnTo>
                <a:close/>
              </a:path>
              <a:path w="13852525" h="11308715">
                <a:moveTo>
                  <a:pt x="7013797" y="5301456"/>
                </a:moveTo>
                <a:lnTo>
                  <a:pt x="6248940" y="5301456"/>
                </a:lnTo>
                <a:lnTo>
                  <a:pt x="6424317" y="5606831"/>
                </a:lnTo>
                <a:lnTo>
                  <a:pt x="6426495" y="5606256"/>
                </a:lnTo>
                <a:lnTo>
                  <a:pt x="7191551" y="5606256"/>
                </a:lnTo>
                <a:lnTo>
                  <a:pt x="7094160" y="5441156"/>
                </a:lnTo>
                <a:lnTo>
                  <a:pt x="7709259" y="5441156"/>
                </a:lnTo>
                <a:lnTo>
                  <a:pt x="7675389" y="5314156"/>
                </a:lnTo>
                <a:lnTo>
                  <a:pt x="7017210" y="5314156"/>
                </a:lnTo>
                <a:lnTo>
                  <a:pt x="7013797" y="5301456"/>
                </a:lnTo>
                <a:close/>
              </a:path>
              <a:path w="13852525" h="11308715">
                <a:moveTo>
                  <a:pt x="5966362" y="5149056"/>
                </a:moveTo>
                <a:lnTo>
                  <a:pt x="5127917" y="5314156"/>
                </a:lnTo>
                <a:lnTo>
                  <a:pt x="5431122" y="5606256"/>
                </a:lnTo>
                <a:lnTo>
                  <a:pt x="6269568" y="5441156"/>
                </a:lnTo>
                <a:lnTo>
                  <a:pt x="5966362" y="5149056"/>
                </a:lnTo>
                <a:close/>
              </a:path>
              <a:path w="13852525" h="11308715">
                <a:moveTo>
                  <a:pt x="10824828" y="5301456"/>
                </a:moveTo>
                <a:lnTo>
                  <a:pt x="7013912" y="5301456"/>
                </a:lnTo>
                <a:lnTo>
                  <a:pt x="7017210" y="5314156"/>
                </a:lnTo>
                <a:lnTo>
                  <a:pt x="7675389" y="5314156"/>
                </a:lnTo>
                <a:lnTo>
                  <a:pt x="7851561" y="5428456"/>
                </a:lnTo>
                <a:lnTo>
                  <a:pt x="7807228" y="5593556"/>
                </a:lnTo>
                <a:lnTo>
                  <a:pt x="10831212" y="5593556"/>
                </a:lnTo>
                <a:lnTo>
                  <a:pt x="10824828" y="5301456"/>
                </a:lnTo>
                <a:close/>
              </a:path>
              <a:path w="13852525" h="11308715">
                <a:moveTo>
                  <a:pt x="4160606" y="5060156"/>
                </a:moveTo>
                <a:lnTo>
                  <a:pt x="3208425" y="5428456"/>
                </a:lnTo>
                <a:lnTo>
                  <a:pt x="3453025" y="5568156"/>
                </a:lnTo>
                <a:lnTo>
                  <a:pt x="4405227" y="5187156"/>
                </a:lnTo>
                <a:lnTo>
                  <a:pt x="4160606" y="5060156"/>
                </a:lnTo>
                <a:close/>
              </a:path>
              <a:path w="13852525" h="11308715">
                <a:moveTo>
                  <a:pt x="12906926" y="3688556"/>
                </a:moveTo>
                <a:lnTo>
                  <a:pt x="12296149" y="4056856"/>
                </a:lnTo>
                <a:lnTo>
                  <a:pt x="12157399" y="5479256"/>
                </a:lnTo>
                <a:lnTo>
                  <a:pt x="12768176" y="5098256"/>
                </a:lnTo>
                <a:lnTo>
                  <a:pt x="12906926" y="3688556"/>
                </a:lnTo>
                <a:close/>
              </a:path>
              <a:path w="13852525" h="11308715">
                <a:moveTo>
                  <a:pt x="6925066" y="4971256"/>
                </a:moveTo>
                <a:lnTo>
                  <a:pt x="7017210" y="5314156"/>
                </a:lnTo>
                <a:lnTo>
                  <a:pt x="7013912" y="5301456"/>
                </a:lnTo>
                <a:lnTo>
                  <a:pt x="10824828" y="5301456"/>
                </a:lnTo>
                <a:lnTo>
                  <a:pt x="10823717" y="5250656"/>
                </a:lnTo>
                <a:lnTo>
                  <a:pt x="10448079" y="5250656"/>
                </a:lnTo>
                <a:lnTo>
                  <a:pt x="10425930" y="5174456"/>
                </a:lnTo>
                <a:lnTo>
                  <a:pt x="7634846" y="5174456"/>
                </a:lnTo>
                <a:lnTo>
                  <a:pt x="6925066" y="4971256"/>
                </a:lnTo>
                <a:close/>
              </a:path>
              <a:path w="13852525" h="11308715">
                <a:moveTo>
                  <a:pt x="11205803" y="4082256"/>
                </a:moveTo>
                <a:lnTo>
                  <a:pt x="10455922" y="4082256"/>
                </a:lnTo>
                <a:lnTo>
                  <a:pt x="10682669" y="5098256"/>
                </a:lnTo>
                <a:lnTo>
                  <a:pt x="10448079" y="5250656"/>
                </a:lnTo>
                <a:lnTo>
                  <a:pt x="10823717" y="5250656"/>
                </a:lnTo>
                <a:lnTo>
                  <a:pt x="10822885" y="5212556"/>
                </a:lnTo>
                <a:lnTo>
                  <a:pt x="11137440" y="4882356"/>
                </a:lnTo>
                <a:lnTo>
                  <a:pt x="11840169" y="4882356"/>
                </a:lnTo>
                <a:lnTo>
                  <a:pt x="11848798" y="4679156"/>
                </a:lnTo>
                <a:lnTo>
                  <a:pt x="11327529" y="4679156"/>
                </a:lnTo>
                <a:lnTo>
                  <a:pt x="11335665" y="4666456"/>
                </a:lnTo>
                <a:lnTo>
                  <a:pt x="11205803" y="4082256"/>
                </a:lnTo>
                <a:close/>
              </a:path>
              <a:path w="13852525" h="11308715">
                <a:moveTo>
                  <a:pt x="3575367" y="4729956"/>
                </a:moveTo>
                <a:lnTo>
                  <a:pt x="2545503" y="5085556"/>
                </a:lnTo>
                <a:lnTo>
                  <a:pt x="2721508" y="5174456"/>
                </a:lnTo>
                <a:lnTo>
                  <a:pt x="3751372" y="4818856"/>
                </a:lnTo>
                <a:lnTo>
                  <a:pt x="3575367" y="4729956"/>
                </a:lnTo>
                <a:close/>
              </a:path>
              <a:path w="13852525" h="11308715">
                <a:moveTo>
                  <a:pt x="7635599" y="4831556"/>
                </a:moveTo>
                <a:lnTo>
                  <a:pt x="7636510" y="5174456"/>
                </a:lnTo>
                <a:lnTo>
                  <a:pt x="10425930" y="5174456"/>
                </a:lnTo>
                <a:lnTo>
                  <a:pt x="10381632" y="5022056"/>
                </a:lnTo>
                <a:lnTo>
                  <a:pt x="7958396" y="5022056"/>
                </a:lnTo>
                <a:lnTo>
                  <a:pt x="7635599" y="4831556"/>
                </a:lnTo>
                <a:close/>
              </a:path>
              <a:path w="13852525" h="11308715">
                <a:moveTo>
                  <a:pt x="5880899" y="4704556"/>
                </a:moveTo>
                <a:lnTo>
                  <a:pt x="6089699" y="5047456"/>
                </a:lnTo>
                <a:lnTo>
                  <a:pt x="6911307" y="5098256"/>
                </a:lnTo>
                <a:lnTo>
                  <a:pt x="6702487" y="4742656"/>
                </a:lnTo>
                <a:lnTo>
                  <a:pt x="5880899" y="4704556"/>
                </a:lnTo>
                <a:close/>
              </a:path>
              <a:path w="13852525" h="11308715">
                <a:moveTo>
                  <a:pt x="5506209" y="4679156"/>
                </a:moveTo>
                <a:lnTo>
                  <a:pt x="4598540" y="4818856"/>
                </a:lnTo>
                <a:lnTo>
                  <a:pt x="4847496" y="5060156"/>
                </a:lnTo>
                <a:lnTo>
                  <a:pt x="5755175" y="4920456"/>
                </a:lnTo>
                <a:lnTo>
                  <a:pt x="5506209" y="4679156"/>
                </a:lnTo>
                <a:close/>
              </a:path>
              <a:path w="13852525" h="11308715">
                <a:moveTo>
                  <a:pt x="7623663" y="4145756"/>
                </a:moveTo>
                <a:lnTo>
                  <a:pt x="7625328" y="4539456"/>
                </a:lnTo>
                <a:lnTo>
                  <a:pt x="8015075" y="4806156"/>
                </a:lnTo>
                <a:lnTo>
                  <a:pt x="7958396" y="5022056"/>
                </a:lnTo>
                <a:lnTo>
                  <a:pt x="10381632" y="5022056"/>
                </a:lnTo>
                <a:lnTo>
                  <a:pt x="10267195" y="4628356"/>
                </a:lnTo>
                <a:lnTo>
                  <a:pt x="9859992" y="4628356"/>
                </a:lnTo>
                <a:lnTo>
                  <a:pt x="9760072" y="4463256"/>
                </a:lnTo>
                <a:lnTo>
                  <a:pt x="8084937" y="4463256"/>
                </a:lnTo>
                <a:lnTo>
                  <a:pt x="7623663" y="4145756"/>
                </a:lnTo>
                <a:close/>
              </a:path>
              <a:path w="13852525" h="11308715">
                <a:moveTo>
                  <a:pt x="6733763" y="4310856"/>
                </a:moveTo>
                <a:lnTo>
                  <a:pt x="6839582" y="4691856"/>
                </a:lnTo>
                <a:lnTo>
                  <a:pt x="7590302" y="4945856"/>
                </a:lnTo>
                <a:lnTo>
                  <a:pt x="7484484" y="4564856"/>
                </a:lnTo>
                <a:lnTo>
                  <a:pt x="6733763" y="4310856"/>
                </a:lnTo>
                <a:close/>
              </a:path>
              <a:path w="13852525" h="11308715">
                <a:moveTo>
                  <a:pt x="13851902" y="3078956"/>
                </a:moveTo>
                <a:lnTo>
                  <a:pt x="13451318" y="3332956"/>
                </a:lnTo>
                <a:lnTo>
                  <a:pt x="13229900" y="4844256"/>
                </a:lnTo>
                <a:lnTo>
                  <a:pt x="13729634" y="4526756"/>
                </a:lnTo>
                <a:lnTo>
                  <a:pt x="13851902" y="3688556"/>
                </a:lnTo>
                <a:lnTo>
                  <a:pt x="13851902" y="3078956"/>
                </a:lnTo>
                <a:close/>
              </a:path>
              <a:path w="13852525" h="11308715">
                <a:moveTo>
                  <a:pt x="2990128" y="4387056"/>
                </a:moveTo>
                <a:lnTo>
                  <a:pt x="1882560" y="4742656"/>
                </a:lnTo>
                <a:lnTo>
                  <a:pt x="1989928" y="4793456"/>
                </a:lnTo>
                <a:lnTo>
                  <a:pt x="3097518" y="4437856"/>
                </a:lnTo>
                <a:lnTo>
                  <a:pt x="2990128" y="4387056"/>
                </a:lnTo>
                <a:close/>
              </a:path>
              <a:path w="13852525" h="11308715">
                <a:moveTo>
                  <a:pt x="11862822" y="4348956"/>
                </a:moveTo>
                <a:lnTo>
                  <a:pt x="11327529" y="4679156"/>
                </a:lnTo>
                <a:lnTo>
                  <a:pt x="11848798" y="4679156"/>
                </a:lnTo>
                <a:lnTo>
                  <a:pt x="11862822" y="4348956"/>
                </a:lnTo>
                <a:close/>
              </a:path>
              <a:path w="13852525" h="11308715">
                <a:moveTo>
                  <a:pt x="10419085" y="3472656"/>
                </a:moveTo>
                <a:lnTo>
                  <a:pt x="9559876" y="3472656"/>
                </a:lnTo>
                <a:lnTo>
                  <a:pt x="10057473" y="4412456"/>
                </a:lnTo>
                <a:lnTo>
                  <a:pt x="9859992" y="4628356"/>
                </a:lnTo>
                <a:lnTo>
                  <a:pt x="10267195" y="4628356"/>
                </a:lnTo>
                <a:lnTo>
                  <a:pt x="10226589" y="4488656"/>
                </a:lnTo>
                <a:lnTo>
                  <a:pt x="10455922" y="4082256"/>
                </a:lnTo>
                <a:lnTo>
                  <a:pt x="11205803" y="4082256"/>
                </a:lnTo>
                <a:lnTo>
                  <a:pt x="11149342" y="3828256"/>
                </a:lnTo>
                <a:lnTo>
                  <a:pt x="10594494" y="3828256"/>
                </a:lnTo>
                <a:lnTo>
                  <a:pt x="10600441" y="3815556"/>
                </a:lnTo>
                <a:lnTo>
                  <a:pt x="10419085" y="3472656"/>
                </a:lnTo>
                <a:close/>
              </a:path>
              <a:path w="13852525" h="11308715">
                <a:moveTo>
                  <a:pt x="5046076" y="4209256"/>
                </a:moveTo>
                <a:lnTo>
                  <a:pt x="4069174" y="4323556"/>
                </a:lnTo>
                <a:lnTo>
                  <a:pt x="4263849" y="4501356"/>
                </a:lnTo>
                <a:lnTo>
                  <a:pt x="5240793" y="4399756"/>
                </a:lnTo>
                <a:lnTo>
                  <a:pt x="5046076" y="4209256"/>
                </a:lnTo>
                <a:close/>
              </a:path>
              <a:path w="13852525" h="11308715">
                <a:moveTo>
                  <a:pt x="5512868" y="4094956"/>
                </a:moveTo>
                <a:lnTo>
                  <a:pt x="5684591" y="4387056"/>
                </a:lnTo>
                <a:lnTo>
                  <a:pt x="6562805" y="4475956"/>
                </a:lnTo>
                <a:lnTo>
                  <a:pt x="6391082" y="4196556"/>
                </a:lnTo>
                <a:lnTo>
                  <a:pt x="5512868" y="4094956"/>
                </a:lnTo>
                <a:close/>
              </a:path>
              <a:path w="13852525" h="11308715">
                <a:moveTo>
                  <a:pt x="7611736" y="3472656"/>
                </a:moveTo>
                <a:lnTo>
                  <a:pt x="7613820" y="3790156"/>
                </a:lnTo>
                <a:lnTo>
                  <a:pt x="8154243" y="4209256"/>
                </a:lnTo>
                <a:lnTo>
                  <a:pt x="8084937" y="4463256"/>
                </a:lnTo>
                <a:lnTo>
                  <a:pt x="9760072" y="4463256"/>
                </a:lnTo>
                <a:lnTo>
                  <a:pt x="9583289" y="4171156"/>
                </a:lnTo>
                <a:lnTo>
                  <a:pt x="9105377" y="4171156"/>
                </a:lnTo>
                <a:lnTo>
                  <a:pt x="8844315" y="3929856"/>
                </a:lnTo>
                <a:lnTo>
                  <a:pt x="8225341" y="3929856"/>
                </a:lnTo>
                <a:lnTo>
                  <a:pt x="7611736" y="3472656"/>
                </a:lnTo>
                <a:close/>
              </a:path>
              <a:path w="13852525" h="11308715">
                <a:moveTo>
                  <a:pt x="2404879" y="4056856"/>
                </a:moveTo>
                <a:lnTo>
                  <a:pt x="1219606" y="4387056"/>
                </a:lnTo>
                <a:lnTo>
                  <a:pt x="1258380" y="4412456"/>
                </a:lnTo>
                <a:lnTo>
                  <a:pt x="2443632" y="4069556"/>
                </a:lnTo>
                <a:lnTo>
                  <a:pt x="2404879" y="4056856"/>
                </a:lnTo>
                <a:close/>
              </a:path>
              <a:path w="13852525" h="11308715">
                <a:moveTo>
                  <a:pt x="11917783" y="2418556"/>
                </a:moveTo>
                <a:lnTo>
                  <a:pt x="11404218" y="2964656"/>
                </a:lnTo>
                <a:lnTo>
                  <a:pt x="11638347" y="4387056"/>
                </a:lnTo>
                <a:lnTo>
                  <a:pt x="12151912" y="3853656"/>
                </a:lnTo>
                <a:lnTo>
                  <a:pt x="11917783" y="2418556"/>
                </a:lnTo>
                <a:close/>
              </a:path>
              <a:path w="13852525" h="11308715">
                <a:moveTo>
                  <a:pt x="6542429" y="3637756"/>
                </a:moveTo>
                <a:lnTo>
                  <a:pt x="6629840" y="3955256"/>
                </a:lnTo>
                <a:lnTo>
                  <a:pt x="7421512" y="4272756"/>
                </a:lnTo>
                <a:lnTo>
                  <a:pt x="7334111" y="3955256"/>
                </a:lnTo>
                <a:lnTo>
                  <a:pt x="6542429" y="3637756"/>
                </a:lnTo>
                <a:close/>
              </a:path>
              <a:path w="13852525" h="11308715">
                <a:moveTo>
                  <a:pt x="8675913" y="2151856"/>
                </a:moveTo>
                <a:lnTo>
                  <a:pt x="8439135" y="3053556"/>
                </a:lnTo>
                <a:lnTo>
                  <a:pt x="9249467" y="3917156"/>
                </a:lnTo>
                <a:lnTo>
                  <a:pt x="9105377" y="4171156"/>
                </a:lnTo>
                <a:lnTo>
                  <a:pt x="9583289" y="4171156"/>
                </a:lnTo>
                <a:lnTo>
                  <a:pt x="9437251" y="3929856"/>
                </a:lnTo>
                <a:lnTo>
                  <a:pt x="9559876" y="3472656"/>
                </a:lnTo>
                <a:lnTo>
                  <a:pt x="10419085" y="3472656"/>
                </a:lnTo>
                <a:lnTo>
                  <a:pt x="10271313" y="3193256"/>
                </a:lnTo>
                <a:lnTo>
                  <a:pt x="9633989" y="3193256"/>
                </a:lnTo>
                <a:lnTo>
                  <a:pt x="9637151" y="3180556"/>
                </a:lnTo>
                <a:lnTo>
                  <a:pt x="8675913" y="2151856"/>
                </a:lnTo>
                <a:close/>
              </a:path>
              <a:path w="13852525" h="11308715">
                <a:moveTo>
                  <a:pt x="4585933" y="3739356"/>
                </a:moveTo>
                <a:lnTo>
                  <a:pt x="3539797" y="3828256"/>
                </a:lnTo>
                <a:lnTo>
                  <a:pt x="3680254" y="3955256"/>
                </a:lnTo>
                <a:lnTo>
                  <a:pt x="4726390" y="3879056"/>
                </a:lnTo>
                <a:lnTo>
                  <a:pt x="4585933" y="3739356"/>
                </a:lnTo>
                <a:close/>
              </a:path>
              <a:path w="13852525" h="11308715">
                <a:moveTo>
                  <a:pt x="8349672" y="3472656"/>
                </a:moveTo>
                <a:lnTo>
                  <a:pt x="8225341" y="3929856"/>
                </a:lnTo>
                <a:lnTo>
                  <a:pt x="8844315" y="3929856"/>
                </a:lnTo>
                <a:lnTo>
                  <a:pt x="8349672" y="3472656"/>
                </a:lnTo>
                <a:close/>
              </a:path>
              <a:path w="13852525" h="11308715">
                <a:moveTo>
                  <a:pt x="5144827" y="3485356"/>
                </a:moveTo>
                <a:lnTo>
                  <a:pt x="5279462" y="3713956"/>
                </a:lnTo>
                <a:lnTo>
                  <a:pt x="6214302" y="3853656"/>
                </a:lnTo>
                <a:lnTo>
                  <a:pt x="6079668" y="3637756"/>
                </a:lnTo>
                <a:lnTo>
                  <a:pt x="5144827" y="3485356"/>
                </a:lnTo>
                <a:close/>
              </a:path>
              <a:path w="13852525" h="11308715">
                <a:moveTo>
                  <a:pt x="11044888" y="3358356"/>
                </a:moveTo>
                <a:lnTo>
                  <a:pt x="10594494" y="3828256"/>
                </a:lnTo>
                <a:lnTo>
                  <a:pt x="11149342" y="3828256"/>
                </a:lnTo>
                <a:lnTo>
                  <a:pt x="11044888" y="3358356"/>
                </a:lnTo>
                <a:close/>
              </a:path>
              <a:path w="13852525" h="11308715">
                <a:moveTo>
                  <a:pt x="7599810" y="2786856"/>
                </a:moveTo>
                <a:lnTo>
                  <a:pt x="7602313" y="3040856"/>
                </a:lnTo>
                <a:lnTo>
                  <a:pt x="8282857" y="3612356"/>
                </a:lnTo>
                <a:lnTo>
                  <a:pt x="8280355" y="3358356"/>
                </a:lnTo>
                <a:lnTo>
                  <a:pt x="7599810" y="2786856"/>
                </a:lnTo>
                <a:close/>
              </a:path>
              <a:path w="13852525" h="11308715">
                <a:moveTo>
                  <a:pt x="6351115" y="2977356"/>
                </a:moveTo>
                <a:lnTo>
                  <a:pt x="6420118" y="3218656"/>
                </a:lnTo>
                <a:lnTo>
                  <a:pt x="7252732" y="3599656"/>
                </a:lnTo>
                <a:lnTo>
                  <a:pt x="7183739" y="3345656"/>
                </a:lnTo>
                <a:lnTo>
                  <a:pt x="6351115" y="2977356"/>
                </a:lnTo>
                <a:close/>
              </a:path>
              <a:path w="13852525" h="11308715">
                <a:moveTo>
                  <a:pt x="12790678" y="1491456"/>
                </a:moveTo>
                <a:lnTo>
                  <a:pt x="12370890" y="1923256"/>
                </a:lnTo>
                <a:lnTo>
                  <a:pt x="12548382" y="3472656"/>
                </a:lnTo>
                <a:lnTo>
                  <a:pt x="12968181" y="3040856"/>
                </a:lnTo>
                <a:lnTo>
                  <a:pt x="12790678" y="1491456"/>
                </a:lnTo>
                <a:close/>
              </a:path>
              <a:path w="13852525" h="11308715">
                <a:moveTo>
                  <a:pt x="10591646" y="1453356"/>
                </a:moveTo>
                <a:lnTo>
                  <a:pt x="10217657" y="2113756"/>
                </a:lnTo>
                <a:lnTo>
                  <a:pt x="10830727" y="3459956"/>
                </a:lnTo>
                <a:lnTo>
                  <a:pt x="11204716" y="2799556"/>
                </a:lnTo>
                <a:lnTo>
                  <a:pt x="10591646" y="1453356"/>
                </a:lnTo>
                <a:close/>
              </a:path>
              <a:path w="13852525" h="11308715">
                <a:moveTo>
                  <a:pt x="4125801" y="3282156"/>
                </a:moveTo>
                <a:lnTo>
                  <a:pt x="3010421" y="3332956"/>
                </a:lnTo>
                <a:lnTo>
                  <a:pt x="3096628" y="3409156"/>
                </a:lnTo>
                <a:lnTo>
                  <a:pt x="4212018" y="3358356"/>
                </a:lnTo>
                <a:lnTo>
                  <a:pt x="4125801" y="3282156"/>
                </a:lnTo>
                <a:close/>
              </a:path>
              <a:path w="13852525" h="11308715">
                <a:moveTo>
                  <a:pt x="4776796" y="2888456"/>
                </a:moveTo>
                <a:lnTo>
                  <a:pt x="4874343" y="3040856"/>
                </a:lnTo>
                <a:lnTo>
                  <a:pt x="5865810" y="3231356"/>
                </a:lnTo>
                <a:lnTo>
                  <a:pt x="5768264" y="3078956"/>
                </a:lnTo>
                <a:lnTo>
                  <a:pt x="4776796" y="2888456"/>
                </a:lnTo>
                <a:close/>
              </a:path>
              <a:path w="13852525" h="11308715">
                <a:moveTo>
                  <a:pt x="9962335" y="2609056"/>
                </a:moveTo>
                <a:lnTo>
                  <a:pt x="9633989" y="3193256"/>
                </a:lnTo>
                <a:lnTo>
                  <a:pt x="10271313" y="3193256"/>
                </a:lnTo>
                <a:lnTo>
                  <a:pt x="9962335" y="2609056"/>
                </a:lnTo>
                <a:close/>
              </a:path>
              <a:path w="13852525" h="11308715">
                <a:moveTo>
                  <a:pt x="7587884" y="2113756"/>
                </a:moveTo>
                <a:lnTo>
                  <a:pt x="7590805" y="2291556"/>
                </a:lnTo>
                <a:lnTo>
                  <a:pt x="8294784" y="2926556"/>
                </a:lnTo>
                <a:lnTo>
                  <a:pt x="8291862" y="2736056"/>
                </a:lnTo>
                <a:lnTo>
                  <a:pt x="7587884" y="2113756"/>
                </a:lnTo>
                <a:close/>
              </a:path>
              <a:path w="13852525" h="11308715">
                <a:moveTo>
                  <a:pt x="6159801" y="2304256"/>
                </a:moveTo>
                <a:lnTo>
                  <a:pt x="6210376" y="2482056"/>
                </a:lnTo>
                <a:lnTo>
                  <a:pt x="7083951" y="2913856"/>
                </a:lnTo>
                <a:lnTo>
                  <a:pt x="7033366" y="2736056"/>
                </a:lnTo>
                <a:lnTo>
                  <a:pt x="6159801" y="2304256"/>
                </a:lnTo>
                <a:close/>
              </a:path>
              <a:path w="13852525" h="11308715">
                <a:moveTo>
                  <a:pt x="3665658" y="2812256"/>
                </a:moveTo>
                <a:lnTo>
                  <a:pt x="2481055" y="2837656"/>
                </a:lnTo>
                <a:lnTo>
                  <a:pt x="2512981" y="2863056"/>
                </a:lnTo>
                <a:lnTo>
                  <a:pt x="3697615" y="2837656"/>
                </a:lnTo>
                <a:lnTo>
                  <a:pt x="3665658" y="2812256"/>
                </a:lnTo>
                <a:close/>
              </a:path>
              <a:path w="13852525" h="11308715">
                <a:moveTo>
                  <a:pt x="9002134" y="843756"/>
                </a:moveTo>
                <a:lnTo>
                  <a:pt x="8802779" y="1605756"/>
                </a:lnTo>
                <a:lnTo>
                  <a:pt x="9774309" y="2761456"/>
                </a:lnTo>
                <a:lnTo>
                  <a:pt x="9973675" y="2012156"/>
                </a:lnTo>
                <a:lnTo>
                  <a:pt x="9002134" y="843756"/>
                </a:lnTo>
                <a:close/>
              </a:path>
              <a:path w="13852525" h="11308715">
                <a:moveTo>
                  <a:pt x="4408755" y="2278856"/>
                </a:moveTo>
                <a:lnTo>
                  <a:pt x="4469235" y="2380456"/>
                </a:lnTo>
                <a:lnTo>
                  <a:pt x="5517318" y="2609056"/>
                </a:lnTo>
                <a:lnTo>
                  <a:pt x="5456849" y="2520156"/>
                </a:lnTo>
                <a:lnTo>
                  <a:pt x="4408755" y="2278856"/>
                </a:lnTo>
                <a:close/>
              </a:path>
              <a:path w="13852525" h="11308715">
                <a:moveTo>
                  <a:pt x="11220946" y="284956"/>
                </a:moveTo>
                <a:lnTo>
                  <a:pt x="10915740" y="843756"/>
                </a:lnTo>
                <a:lnTo>
                  <a:pt x="11503785" y="2316956"/>
                </a:lnTo>
                <a:lnTo>
                  <a:pt x="11808991" y="1770856"/>
                </a:lnTo>
                <a:lnTo>
                  <a:pt x="11220946" y="284956"/>
                </a:lnTo>
                <a:close/>
              </a:path>
              <a:path w="13852525" h="11308715">
                <a:moveTo>
                  <a:pt x="5968477" y="1643856"/>
                </a:moveTo>
                <a:lnTo>
                  <a:pt x="6000644" y="1745456"/>
                </a:lnTo>
                <a:lnTo>
                  <a:pt x="6915171" y="2240756"/>
                </a:lnTo>
                <a:lnTo>
                  <a:pt x="6883015" y="2126456"/>
                </a:lnTo>
                <a:lnTo>
                  <a:pt x="5968477" y="1643856"/>
                </a:lnTo>
                <a:close/>
              </a:path>
              <a:path w="13852525" h="11308715">
                <a:moveTo>
                  <a:pt x="7575968" y="1427956"/>
                </a:moveTo>
                <a:lnTo>
                  <a:pt x="7579298" y="1542256"/>
                </a:lnTo>
                <a:lnTo>
                  <a:pt x="8306699" y="2240756"/>
                </a:lnTo>
                <a:lnTo>
                  <a:pt x="8303370" y="2126456"/>
                </a:lnTo>
                <a:lnTo>
                  <a:pt x="7575968" y="1427956"/>
                </a:lnTo>
                <a:close/>
              </a:path>
              <a:path w="13852525" h="11308715">
                <a:moveTo>
                  <a:pt x="4040735" y="1669256"/>
                </a:moveTo>
                <a:lnTo>
                  <a:pt x="4064096" y="1707356"/>
                </a:lnTo>
                <a:lnTo>
                  <a:pt x="5168826" y="1986756"/>
                </a:lnTo>
                <a:lnTo>
                  <a:pt x="5145445" y="1961356"/>
                </a:lnTo>
                <a:lnTo>
                  <a:pt x="4040735" y="1669256"/>
                </a:lnTo>
                <a:close/>
              </a:path>
              <a:path w="13852525" h="11308715">
                <a:moveTo>
                  <a:pt x="5777164" y="970756"/>
                </a:moveTo>
                <a:lnTo>
                  <a:pt x="5790923" y="1008856"/>
                </a:lnTo>
                <a:lnTo>
                  <a:pt x="6746391" y="1554956"/>
                </a:lnTo>
                <a:lnTo>
                  <a:pt x="6732643" y="1529556"/>
                </a:lnTo>
                <a:lnTo>
                  <a:pt x="5777164" y="970756"/>
                </a:lnTo>
                <a:close/>
              </a:path>
              <a:path w="13852525" h="11308715">
                <a:moveTo>
                  <a:pt x="7564041" y="754856"/>
                </a:moveTo>
                <a:lnTo>
                  <a:pt x="7567790" y="792956"/>
                </a:lnTo>
                <a:lnTo>
                  <a:pt x="8318636" y="1554956"/>
                </a:lnTo>
                <a:lnTo>
                  <a:pt x="8314888" y="1516856"/>
                </a:lnTo>
                <a:lnTo>
                  <a:pt x="7564041" y="754856"/>
                </a:lnTo>
                <a:close/>
              </a:path>
              <a:path w="13852525" h="11308715">
                <a:moveTo>
                  <a:pt x="9684684" y="5556"/>
                </a:moveTo>
                <a:lnTo>
                  <a:pt x="9205378" y="5556"/>
                </a:lnTo>
                <a:lnTo>
                  <a:pt x="9166401" y="157956"/>
                </a:lnTo>
                <a:lnTo>
                  <a:pt x="10148214" y="1453356"/>
                </a:lnTo>
                <a:lnTo>
                  <a:pt x="10310167" y="831056"/>
                </a:lnTo>
                <a:lnTo>
                  <a:pt x="9684684" y="5556"/>
                </a:lnTo>
                <a:close/>
              </a:path>
              <a:path w="13852525" h="11308715">
                <a:moveTo>
                  <a:pt x="12155392" y="5556"/>
                </a:moveTo>
                <a:lnTo>
                  <a:pt x="11769899" y="5556"/>
                </a:lnTo>
                <a:lnTo>
                  <a:pt x="12176843" y="1173956"/>
                </a:lnTo>
                <a:lnTo>
                  <a:pt x="12413266" y="742156"/>
                </a:lnTo>
                <a:lnTo>
                  <a:pt x="12155392" y="5556"/>
                </a:lnTo>
                <a:close/>
              </a:path>
              <a:path w="13852525" h="11308715">
                <a:moveTo>
                  <a:pt x="10558529" y="5556"/>
                </a:moveTo>
                <a:lnTo>
                  <a:pt x="10424416" y="5556"/>
                </a:lnTo>
                <a:lnTo>
                  <a:pt x="10522108" y="145256"/>
                </a:lnTo>
                <a:lnTo>
                  <a:pt x="10558529" y="5556"/>
                </a:lnTo>
                <a:close/>
              </a:path>
            </a:pathLst>
          </a:custGeom>
          <a:solidFill>
            <a:srgbClr val="1A0F5C">
              <a:alpha val="5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FDD0999-C447-FB95-885F-11AEB8E057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908" y="1714110"/>
            <a:ext cx="1840546" cy="61047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FE6FD64-F8E1-D623-7953-867CAE5E180C}"/>
              </a:ext>
            </a:extLst>
          </p:cNvPr>
          <p:cNvSpPr txBox="1"/>
          <p:nvPr userDrawn="1"/>
        </p:nvSpPr>
        <p:spPr>
          <a:xfrm>
            <a:off x="383907" y="6267664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mangroup.com</a:t>
            </a:r>
            <a:endParaRPr lang="en-GB" sz="800" spc="55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052BB045-3673-73C6-366C-5299FAB80CB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411629" y="5850238"/>
            <a:ext cx="2396464" cy="632869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BBF6E76C-F61B-415B-9246-4E4CDB1DBF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3908" y="4082988"/>
            <a:ext cx="3519877" cy="3385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ase Study</a:t>
            </a:r>
          </a:p>
        </p:txBody>
      </p:sp>
    </p:spTree>
    <p:extLst>
      <p:ext uri="{BB962C8B-B14F-4D97-AF65-F5344CB8AC3E}">
        <p14:creationId xmlns:p14="http://schemas.microsoft.com/office/powerpoint/2010/main" val="38643033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\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22112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Li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35F4A639-08E5-4A72-BA2B-5D892876578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81000" y="1601152"/>
            <a:ext cx="11430000" cy="365760"/>
          </a:xfrm>
          <a:custGeom>
            <a:avLst/>
            <a:gdLst>
              <a:gd name="connsiteX0" fmla="*/ 102870 w 11430000"/>
              <a:gd name="connsiteY0" fmla="*/ 0 h 411480"/>
              <a:gd name="connsiteX1" fmla="*/ 11430000 w 11430000"/>
              <a:gd name="connsiteY1" fmla="*/ 0 h 411480"/>
              <a:gd name="connsiteX2" fmla="*/ 11327130 w 11430000"/>
              <a:gd name="connsiteY2" fmla="*/ 411480 h 411480"/>
              <a:gd name="connsiteX3" fmla="*/ 0 w 11430000"/>
              <a:gd name="connsiteY3" fmla="*/ 411480 h 411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11480">
                <a:moveTo>
                  <a:pt x="102870" y="0"/>
                </a:moveTo>
                <a:lnTo>
                  <a:pt x="11430000" y="0"/>
                </a:lnTo>
                <a:lnTo>
                  <a:pt x="11327130" y="411480"/>
                </a:lnTo>
                <a:lnTo>
                  <a:pt x="0" y="4114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105156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600" b="1" baseline="0"/>
            </a:lvl1pPr>
            <a:lvl2pPr marL="0" indent="0">
              <a:lnSpc>
                <a:spcPct val="100000"/>
              </a:lnSpc>
              <a:spcBef>
                <a:spcPts val="2100"/>
              </a:spcBef>
              <a:buNone/>
              <a:defRPr sz="1400" baseline="0">
                <a:solidFill>
                  <a:schemeClr val="tx1"/>
                </a:solidFill>
              </a:defRPr>
            </a:lvl2pPr>
            <a:lvl3pPr marL="1200150" indent="-285750">
              <a:lnSpc>
                <a:spcPct val="90000"/>
              </a:lnSpc>
              <a:spcBef>
                <a:spcPts val="1000"/>
              </a:spcBef>
              <a:buNone/>
              <a:defRPr lang="en-US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5396A93-7AB1-4528-BDE2-D0E1DC0A5A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7106" y="1509712"/>
            <a:ext cx="731520" cy="548640"/>
          </a:xfrm>
          <a:prstGeom prst="flowChartInputOutput">
            <a:avLst/>
          </a:prstGeom>
          <a:solidFill>
            <a:schemeClr val="tx2"/>
          </a:solidFill>
        </p:spPr>
        <p:txBody>
          <a:bodyPr lIns="45720" rIns="4572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600" b="1" i="0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3pPr>
            <a:lvl4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30C33A4-A8F3-469E-93A7-19A441E2BA24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81000" y="2294291"/>
            <a:ext cx="11430000" cy="365760"/>
          </a:xfrm>
          <a:custGeom>
            <a:avLst/>
            <a:gdLst>
              <a:gd name="connsiteX0" fmla="*/ 102870 w 11430000"/>
              <a:gd name="connsiteY0" fmla="*/ 0 h 411480"/>
              <a:gd name="connsiteX1" fmla="*/ 11430000 w 11430000"/>
              <a:gd name="connsiteY1" fmla="*/ 0 h 411480"/>
              <a:gd name="connsiteX2" fmla="*/ 11327130 w 11430000"/>
              <a:gd name="connsiteY2" fmla="*/ 411480 h 411480"/>
              <a:gd name="connsiteX3" fmla="*/ 0 w 11430000"/>
              <a:gd name="connsiteY3" fmla="*/ 411480 h 411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11480">
                <a:moveTo>
                  <a:pt x="102870" y="0"/>
                </a:moveTo>
                <a:lnTo>
                  <a:pt x="11430000" y="0"/>
                </a:lnTo>
                <a:lnTo>
                  <a:pt x="11327130" y="411480"/>
                </a:lnTo>
                <a:lnTo>
                  <a:pt x="0" y="4114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105156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600" b="1" baseline="0"/>
            </a:lvl1pPr>
            <a:lvl2pPr marL="0" indent="0">
              <a:lnSpc>
                <a:spcPct val="100000"/>
              </a:lnSpc>
              <a:spcBef>
                <a:spcPts val="2100"/>
              </a:spcBef>
              <a:buNone/>
              <a:defRPr lang="en-GB" sz="1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indent="-285750">
              <a:lnSpc>
                <a:spcPct val="90000"/>
              </a:lnSpc>
              <a:spcBef>
                <a:spcPts val="1000"/>
              </a:spcBef>
              <a:buNone/>
              <a:defRPr lang="en-US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1"/>
            <a:r>
              <a:rPr lang="en-GB" dirty="0"/>
              <a:t>Click to edit Master text styles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D1F859AA-70B4-408C-8676-499785F437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106" y="2202851"/>
            <a:ext cx="731520" cy="548640"/>
          </a:xfrm>
          <a:prstGeom prst="flowChartInputOutput">
            <a:avLst/>
          </a:prstGeom>
          <a:solidFill>
            <a:schemeClr val="bg1">
              <a:lumMod val="85000"/>
            </a:schemeClr>
          </a:solidFill>
        </p:spPr>
        <p:txBody>
          <a:bodyPr lIns="45720" rIns="4572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600" b="1" i="0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3pPr>
            <a:lvl4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C4AB91E0-7E1F-4409-BB3A-4EB7D9F983C2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381000" y="2987430"/>
            <a:ext cx="11430000" cy="365760"/>
          </a:xfrm>
          <a:custGeom>
            <a:avLst/>
            <a:gdLst>
              <a:gd name="connsiteX0" fmla="*/ 102870 w 11430000"/>
              <a:gd name="connsiteY0" fmla="*/ 0 h 411480"/>
              <a:gd name="connsiteX1" fmla="*/ 11430000 w 11430000"/>
              <a:gd name="connsiteY1" fmla="*/ 0 h 411480"/>
              <a:gd name="connsiteX2" fmla="*/ 11327130 w 11430000"/>
              <a:gd name="connsiteY2" fmla="*/ 411480 h 411480"/>
              <a:gd name="connsiteX3" fmla="*/ 0 w 11430000"/>
              <a:gd name="connsiteY3" fmla="*/ 411480 h 411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11480">
                <a:moveTo>
                  <a:pt x="102870" y="0"/>
                </a:moveTo>
                <a:lnTo>
                  <a:pt x="11430000" y="0"/>
                </a:lnTo>
                <a:lnTo>
                  <a:pt x="11327130" y="411480"/>
                </a:lnTo>
                <a:lnTo>
                  <a:pt x="0" y="4114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105156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600" b="1" baseline="0"/>
            </a:lvl1pPr>
            <a:lvl2pPr marL="0" indent="0">
              <a:lnSpc>
                <a:spcPct val="100000"/>
              </a:lnSpc>
              <a:spcBef>
                <a:spcPts val="2100"/>
              </a:spcBef>
              <a:buNone/>
              <a:defRPr lang="en-GB" sz="1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indent="-285750">
              <a:lnSpc>
                <a:spcPct val="90000"/>
              </a:lnSpc>
              <a:spcBef>
                <a:spcPts val="1000"/>
              </a:spcBef>
              <a:buNone/>
              <a:defRPr lang="en-US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1"/>
            <a:r>
              <a:rPr lang="en-GB" dirty="0"/>
              <a:t>Click to edit Master text styles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B0C74E1-3AAA-43C1-9D8C-25E131BD5F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106" y="2895990"/>
            <a:ext cx="731520" cy="548640"/>
          </a:xfrm>
          <a:prstGeom prst="flowChartInputOutput">
            <a:avLst/>
          </a:prstGeom>
          <a:solidFill>
            <a:schemeClr val="bg1">
              <a:lumMod val="85000"/>
            </a:schemeClr>
          </a:solidFill>
        </p:spPr>
        <p:txBody>
          <a:bodyPr lIns="45720" rIns="4572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600" b="1" i="0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3pPr>
            <a:lvl4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DCC4BA1A-C1C2-4373-85B3-130A825754CB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381000" y="3680569"/>
            <a:ext cx="11430000" cy="365760"/>
          </a:xfrm>
          <a:custGeom>
            <a:avLst/>
            <a:gdLst>
              <a:gd name="connsiteX0" fmla="*/ 102870 w 11430000"/>
              <a:gd name="connsiteY0" fmla="*/ 0 h 411480"/>
              <a:gd name="connsiteX1" fmla="*/ 11430000 w 11430000"/>
              <a:gd name="connsiteY1" fmla="*/ 0 h 411480"/>
              <a:gd name="connsiteX2" fmla="*/ 11327130 w 11430000"/>
              <a:gd name="connsiteY2" fmla="*/ 411480 h 411480"/>
              <a:gd name="connsiteX3" fmla="*/ 0 w 11430000"/>
              <a:gd name="connsiteY3" fmla="*/ 411480 h 411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11480">
                <a:moveTo>
                  <a:pt x="102870" y="0"/>
                </a:moveTo>
                <a:lnTo>
                  <a:pt x="11430000" y="0"/>
                </a:lnTo>
                <a:lnTo>
                  <a:pt x="11327130" y="411480"/>
                </a:lnTo>
                <a:lnTo>
                  <a:pt x="0" y="4114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105156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600" b="1" baseline="0"/>
            </a:lvl1pPr>
            <a:lvl2pPr marL="0" indent="0">
              <a:lnSpc>
                <a:spcPct val="100000"/>
              </a:lnSpc>
              <a:spcBef>
                <a:spcPts val="2100"/>
              </a:spcBef>
              <a:buNone/>
              <a:defRPr lang="en-GB" sz="1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indent="-285750">
              <a:lnSpc>
                <a:spcPct val="90000"/>
              </a:lnSpc>
              <a:spcBef>
                <a:spcPts val="1000"/>
              </a:spcBef>
              <a:buNone/>
              <a:defRPr lang="en-US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1"/>
            <a:r>
              <a:rPr lang="en-GB" dirty="0"/>
              <a:t>Click to edit Master text styles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F6E2320-1437-4667-BC1B-C44C85F221A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106" y="3589129"/>
            <a:ext cx="731520" cy="548640"/>
          </a:xfrm>
          <a:prstGeom prst="flowChartInputOutput">
            <a:avLst/>
          </a:prstGeom>
          <a:solidFill>
            <a:schemeClr val="bg1">
              <a:lumMod val="85000"/>
            </a:schemeClr>
          </a:solidFill>
        </p:spPr>
        <p:txBody>
          <a:bodyPr lIns="45720" rIns="4572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600" b="1" i="0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3pPr>
            <a:lvl4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EE9F9E-25AB-C5BE-F769-7BA667C17B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942263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and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C52CABD9-F1FB-1BB2-1626-0C1DFA7770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anchor="ctr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9613993-9D9F-5289-7DF2-83E3549ED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061221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0C0A51-525B-B866-2342-C7CBBC887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749425"/>
            <a:ext cx="11430000" cy="44100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8B2FC8A-417E-1F89-D7CA-F4F5D2552B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A0D954-5225-045F-26B5-0A16C31D5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160688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Full Wid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0C0A51-525B-B866-2342-C7CBBC887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749425"/>
            <a:ext cx="11430000" cy="44100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8B2FC8A-417E-1F89-D7CA-F4F5D2552B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ACF05-52EB-BCC1-FEFA-A3B7609A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583460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Full Wid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0C0A51-525B-B866-2342-C7CBBC887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749425"/>
            <a:ext cx="11430000" cy="44100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8B2FC8A-417E-1F89-D7CA-F4F5D2552B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5F1CBE-C749-BAE8-58C3-8907FE86D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035789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ull Wid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0C0A51-525B-B866-2342-C7CBBC887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749425"/>
            <a:ext cx="11430000" cy="44100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8B2FC8A-417E-1F89-D7CA-F4F5D2552B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1D9B11-C747-5E07-B1CE-ED5C2A765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897212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Full Wid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0C0A51-525B-B866-2342-C7CBBC887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749425"/>
            <a:ext cx="11430000" cy="441007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8B2FC8A-417E-1F89-D7CA-F4F5D2552B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9DCD3-7782-2E0F-4D86-1B85B2980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638638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Full Wid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0C0A51-525B-B866-2342-C7CBBC887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749425"/>
            <a:ext cx="11430000" cy="4410075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8B2FC8A-417E-1F89-D7CA-F4F5D2552B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DEEC17-B41C-86B7-7B3C-2C2804DE7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317594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89DB572-1BEA-F6CE-5AA8-E2980CD41F2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97DD4FF-7BBA-F189-9117-A86040E7B1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4632" y="1749425"/>
            <a:ext cx="5626368" cy="441007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F75CB3-3B29-7D02-83C1-CA93F03D3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CC67DF-D3E9-F120-66D8-83C3BD61EE0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3908" y="1749425"/>
            <a:ext cx="5626368" cy="441007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4766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_3">
    <p:bg>
      <p:bgPr>
        <a:gradFill>
          <a:gsLst>
            <a:gs pos="0">
              <a:schemeClr val="bg2"/>
            </a:gs>
            <a:gs pos="100000">
              <a:schemeClr val="accent1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14E23-4D5A-C225-A302-6C9C57B22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643127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bg object 17">
            <a:extLst>
              <a:ext uri="{FF2B5EF4-FFF2-40B4-BE49-F238E27FC236}">
                <a16:creationId xmlns:a16="http://schemas.microsoft.com/office/drawing/2014/main" id="{5AE8EB3F-06DA-9660-72EB-9FC6330A4F34}"/>
              </a:ext>
            </a:extLst>
          </p:cNvPr>
          <p:cNvSpPr/>
          <p:nvPr userDrawn="1"/>
        </p:nvSpPr>
        <p:spPr>
          <a:xfrm>
            <a:off x="3791345" y="1"/>
            <a:ext cx="8400655" cy="6858000"/>
          </a:xfrm>
          <a:custGeom>
            <a:avLst/>
            <a:gdLst/>
            <a:ahLst/>
            <a:cxnLst/>
            <a:rect l="l" t="t" r="r" b="b"/>
            <a:pathLst>
              <a:path w="13852525" h="11308715">
                <a:moveTo>
                  <a:pt x="13663594" y="541274"/>
                </a:moveTo>
                <a:lnTo>
                  <a:pt x="13337552" y="886374"/>
                </a:lnTo>
                <a:lnTo>
                  <a:pt x="13458406" y="2559160"/>
                </a:lnTo>
                <a:lnTo>
                  <a:pt x="13784438" y="2214071"/>
                </a:lnTo>
                <a:lnTo>
                  <a:pt x="13663594" y="541274"/>
                </a:lnTo>
                <a:close/>
              </a:path>
              <a:path w="13852525" h="11308715">
                <a:moveTo>
                  <a:pt x="12862427" y="0"/>
                </a:moveTo>
                <a:lnTo>
                  <a:pt x="12842864" y="0"/>
                </a:lnTo>
                <a:lnTo>
                  <a:pt x="12849922" y="22955"/>
                </a:lnTo>
                <a:lnTo>
                  <a:pt x="12862427" y="0"/>
                </a:lnTo>
                <a:close/>
              </a:path>
              <a:path w="13852525" h="11308715">
                <a:moveTo>
                  <a:pt x="1356744" y="11181556"/>
                </a:moveTo>
                <a:lnTo>
                  <a:pt x="1317802" y="11206956"/>
                </a:lnTo>
                <a:lnTo>
                  <a:pt x="1288384" y="11308556"/>
                </a:lnTo>
                <a:lnTo>
                  <a:pt x="1318869" y="11308556"/>
                </a:lnTo>
                <a:lnTo>
                  <a:pt x="1356744" y="11181556"/>
                </a:lnTo>
                <a:close/>
              </a:path>
              <a:path w="13852525" h="11308715">
                <a:moveTo>
                  <a:pt x="2108543" y="10737056"/>
                </a:moveTo>
                <a:lnTo>
                  <a:pt x="1991771" y="10813256"/>
                </a:lnTo>
                <a:lnTo>
                  <a:pt x="1863059" y="11308556"/>
                </a:lnTo>
                <a:lnTo>
                  <a:pt x="1960085" y="11308556"/>
                </a:lnTo>
                <a:lnTo>
                  <a:pt x="2108543" y="10737056"/>
                </a:lnTo>
                <a:close/>
              </a:path>
              <a:path w="13852525" h="11308715">
                <a:moveTo>
                  <a:pt x="2860321" y="10292556"/>
                </a:moveTo>
                <a:lnTo>
                  <a:pt x="2665698" y="10419556"/>
                </a:lnTo>
                <a:lnTo>
                  <a:pt x="2464479" y="11308556"/>
                </a:lnTo>
                <a:lnTo>
                  <a:pt x="2631287" y="11308556"/>
                </a:lnTo>
                <a:lnTo>
                  <a:pt x="2860321" y="10292556"/>
                </a:lnTo>
                <a:close/>
              </a:path>
              <a:path w="13852525" h="11308715">
                <a:moveTo>
                  <a:pt x="4206856" y="10991056"/>
                </a:moveTo>
                <a:lnTo>
                  <a:pt x="3978528" y="11232356"/>
                </a:lnTo>
                <a:lnTo>
                  <a:pt x="3984302" y="11308556"/>
                </a:lnTo>
                <a:lnTo>
                  <a:pt x="4230674" y="11308556"/>
                </a:lnTo>
                <a:lnTo>
                  <a:pt x="4206856" y="10991056"/>
                </a:lnTo>
                <a:close/>
              </a:path>
              <a:path w="13852525" h="11308715">
                <a:moveTo>
                  <a:pt x="4844187" y="10356056"/>
                </a:moveTo>
                <a:lnTo>
                  <a:pt x="4550207" y="10660856"/>
                </a:lnTo>
                <a:lnTo>
                  <a:pt x="4626194" y="11308556"/>
                </a:lnTo>
                <a:lnTo>
                  <a:pt x="4956321" y="11308556"/>
                </a:lnTo>
                <a:lnTo>
                  <a:pt x="4844187" y="10356056"/>
                </a:lnTo>
                <a:close/>
              </a:path>
              <a:path w="13852525" h="11308715">
                <a:moveTo>
                  <a:pt x="5579023" y="11168856"/>
                </a:moveTo>
                <a:lnTo>
                  <a:pt x="5495758" y="11308556"/>
                </a:lnTo>
                <a:lnTo>
                  <a:pt x="5639011" y="11308556"/>
                </a:lnTo>
                <a:lnTo>
                  <a:pt x="5579023" y="11168856"/>
                </a:lnTo>
                <a:close/>
              </a:path>
              <a:path w="13852525" h="11308715">
                <a:moveTo>
                  <a:pt x="6049721" y="10356056"/>
                </a:moveTo>
                <a:lnTo>
                  <a:pt x="5788221" y="10825956"/>
                </a:lnTo>
                <a:lnTo>
                  <a:pt x="6010322" y="11308556"/>
                </a:lnTo>
                <a:lnTo>
                  <a:pt x="6481959" y="11308556"/>
                </a:lnTo>
                <a:lnTo>
                  <a:pt x="6049721" y="10356056"/>
                </a:lnTo>
                <a:close/>
              </a:path>
              <a:path w="13852525" h="11308715">
                <a:moveTo>
                  <a:pt x="6792159" y="10851356"/>
                </a:moveTo>
                <a:lnTo>
                  <a:pt x="6670546" y="11308556"/>
                </a:lnTo>
                <a:lnTo>
                  <a:pt x="7184035" y="11308556"/>
                </a:lnTo>
                <a:lnTo>
                  <a:pt x="6792159" y="10851356"/>
                </a:lnTo>
                <a:close/>
              </a:path>
              <a:path w="13852525" h="11308715">
                <a:moveTo>
                  <a:pt x="7666782" y="11130756"/>
                </a:moveTo>
                <a:lnTo>
                  <a:pt x="7667177" y="11308556"/>
                </a:lnTo>
                <a:lnTo>
                  <a:pt x="7938091" y="11308556"/>
                </a:lnTo>
                <a:lnTo>
                  <a:pt x="7666782" y="11130756"/>
                </a:lnTo>
                <a:close/>
              </a:path>
              <a:path w="13852525" h="11308715">
                <a:moveTo>
                  <a:pt x="9478281" y="10813256"/>
                </a:moveTo>
                <a:lnTo>
                  <a:pt x="7686195" y="10813256"/>
                </a:lnTo>
                <a:lnTo>
                  <a:pt x="8511158" y="11308556"/>
                </a:lnTo>
                <a:lnTo>
                  <a:pt x="8554593" y="11308556"/>
                </a:lnTo>
                <a:lnTo>
                  <a:pt x="8554315" y="10851356"/>
                </a:lnTo>
                <a:lnTo>
                  <a:pt x="9488564" y="10851356"/>
                </a:lnTo>
                <a:lnTo>
                  <a:pt x="9478281" y="10813256"/>
                </a:lnTo>
                <a:close/>
              </a:path>
              <a:path w="13852525" h="11308715">
                <a:moveTo>
                  <a:pt x="8619486" y="11168856"/>
                </a:moveTo>
                <a:lnTo>
                  <a:pt x="8658631" y="11308556"/>
                </a:lnTo>
                <a:lnTo>
                  <a:pt x="9042097" y="11308556"/>
                </a:lnTo>
                <a:lnTo>
                  <a:pt x="8619486" y="11168856"/>
                </a:lnTo>
                <a:close/>
              </a:path>
              <a:path w="13852525" h="11308715">
                <a:moveTo>
                  <a:pt x="9587425" y="10952956"/>
                </a:moveTo>
                <a:lnTo>
                  <a:pt x="9799117" y="11308556"/>
                </a:lnTo>
                <a:lnTo>
                  <a:pt x="10926641" y="11308556"/>
                </a:lnTo>
                <a:lnTo>
                  <a:pt x="10757923" y="11029156"/>
                </a:lnTo>
                <a:lnTo>
                  <a:pt x="9587425" y="10952956"/>
                </a:lnTo>
                <a:close/>
              </a:path>
              <a:path w="13852525" h="11308715">
                <a:moveTo>
                  <a:pt x="12527880" y="11029156"/>
                </a:moveTo>
                <a:lnTo>
                  <a:pt x="11234160" y="11219656"/>
                </a:lnTo>
                <a:lnTo>
                  <a:pt x="11329752" y="11308556"/>
                </a:lnTo>
                <a:lnTo>
                  <a:pt x="12829487" y="11308556"/>
                </a:lnTo>
                <a:lnTo>
                  <a:pt x="12527880" y="11029156"/>
                </a:lnTo>
                <a:close/>
              </a:path>
              <a:path w="13852525" h="11308715">
                <a:moveTo>
                  <a:pt x="7638137" y="10546556"/>
                </a:moveTo>
                <a:lnTo>
                  <a:pt x="6890020" y="10546556"/>
                </a:lnTo>
                <a:lnTo>
                  <a:pt x="6887821" y="10559256"/>
                </a:lnTo>
                <a:lnTo>
                  <a:pt x="7563947" y="11270456"/>
                </a:lnTo>
                <a:lnTo>
                  <a:pt x="7686195" y="10813256"/>
                </a:lnTo>
                <a:lnTo>
                  <a:pt x="9478281" y="10813256"/>
                </a:lnTo>
                <a:lnTo>
                  <a:pt x="9437147" y="10660856"/>
                </a:lnTo>
                <a:lnTo>
                  <a:pt x="10524376" y="10660856"/>
                </a:lnTo>
                <a:lnTo>
                  <a:pt x="10516980" y="10648156"/>
                </a:lnTo>
                <a:lnTo>
                  <a:pt x="8499343" y="10648156"/>
                </a:lnTo>
                <a:lnTo>
                  <a:pt x="8414694" y="10597356"/>
                </a:lnTo>
                <a:lnTo>
                  <a:pt x="7686069" y="10597356"/>
                </a:lnTo>
                <a:lnTo>
                  <a:pt x="7638137" y="10546556"/>
                </a:lnTo>
                <a:close/>
              </a:path>
              <a:path w="13852525" h="11308715">
                <a:moveTo>
                  <a:pt x="3612099" y="9848056"/>
                </a:moveTo>
                <a:lnTo>
                  <a:pt x="3339678" y="10013156"/>
                </a:lnTo>
                <a:lnTo>
                  <a:pt x="3128616" y="11143456"/>
                </a:lnTo>
                <a:lnTo>
                  <a:pt x="3401069" y="10978356"/>
                </a:lnTo>
                <a:lnTo>
                  <a:pt x="3612099" y="9848056"/>
                </a:lnTo>
                <a:close/>
              </a:path>
              <a:path w="13852525" h="11308715">
                <a:moveTo>
                  <a:pt x="9488564" y="10851356"/>
                </a:moveTo>
                <a:lnTo>
                  <a:pt x="8556681" y="10851356"/>
                </a:lnTo>
                <a:lnTo>
                  <a:pt x="9567405" y="11143456"/>
                </a:lnTo>
                <a:lnTo>
                  <a:pt x="9488564" y="10851356"/>
                </a:lnTo>
                <a:close/>
              </a:path>
              <a:path w="13852525" h="11308715">
                <a:moveTo>
                  <a:pt x="5481518" y="9708356"/>
                </a:moveTo>
                <a:lnTo>
                  <a:pt x="5121885" y="10089356"/>
                </a:lnTo>
                <a:lnTo>
                  <a:pt x="5288310" y="11092656"/>
                </a:lnTo>
                <a:lnTo>
                  <a:pt x="5647953" y="10711656"/>
                </a:lnTo>
                <a:lnTo>
                  <a:pt x="5481518" y="9708356"/>
                </a:lnTo>
                <a:close/>
              </a:path>
              <a:path w="13852525" h="11308715">
                <a:moveTo>
                  <a:pt x="13851902" y="10571956"/>
                </a:moveTo>
                <a:lnTo>
                  <a:pt x="13158437" y="10838656"/>
                </a:lnTo>
                <a:lnTo>
                  <a:pt x="13506593" y="11029156"/>
                </a:lnTo>
                <a:lnTo>
                  <a:pt x="13851902" y="10889456"/>
                </a:lnTo>
                <a:lnTo>
                  <a:pt x="13851902" y="10571956"/>
                </a:lnTo>
                <a:close/>
              </a:path>
              <a:path w="13852525" h="11308715">
                <a:moveTo>
                  <a:pt x="6806761" y="10102056"/>
                </a:moveTo>
                <a:lnTo>
                  <a:pt x="6214962" y="10102056"/>
                </a:lnTo>
                <a:lnTo>
                  <a:pt x="6210816" y="10114756"/>
                </a:lnTo>
                <a:lnTo>
                  <a:pt x="6660446" y="10965656"/>
                </a:lnTo>
                <a:lnTo>
                  <a:pt x="6890020" y="10546556"/>
                </a:lnTo>
                <a:lnTo>
                  <a:pt x="7638137" y="10546556"/>
                </a:lnTo>
                <a:lnTo>
                  <a:pt x="7458393" y="10356056"/>
                </a:lnTo>
                <a:lnTo>
                  <a:pt x="6941610" y="10356056"/>
                </a:lnTo>
                <a:lnTo>
                  <a:pt x="6806761" y="10102056"/>
                </a:lnTo>
                <a:close/>
              </a:path>
              <a:path w="13852525" h="11308715">
                <a:moveTo>
                  <a:pt x="11697937" y="10241756"/>
                </a:moveTo>
                <a:lnTo>
                  <a:pt x="10502769" y="10483056"/>
                </a:lnTo>
                <a:lnTo>
                  <a:pt x="10933949" y="10902156"/>
                </a:lnTo>
                <a:lnTo>
                  <a:pt x="12129107" y="10660856"/>
                </a:lnTo>
                <a:lnTo>
                  <a:pt x="11697937" y="10241756"/>
                </a:lnTo>
                <a:close/>
              </a:path>
              <a:path w="13852525" h="11308715">
                <a:moveTo>
                  <a:pt x="4363898" y="9390856"/>
                </a:moveTo>
                <a:lnTo>
                  <a:pt x="4013595" y="9619456"/>
                </a:lnTo>
                <a:lnTo>
                  <a:pt x="3860447" y="10673556"/>
                </a:lnTo>
                <a:lnTo>
                  <a:pt x="4210719" y="10457656"/>
                </a:lnTo>
                <a:lnTo>
                  <a:pt x="4363898" y="9390856"/>
                </a:lnTo>
                <a:close/>
              </a:path>
              <a:path w="13852525" h="11308715">
                <a:moveTo>
                  <a:pt x="10524376" y="10660856"/>
                </a:moveTo>
                <a:lnTo>
                  <a:pt x="9441827" y="10660856"/>
                </a:lnTo>
                <a:lnTo>
                  <a:pt x="10531773" y="10673556"/>
                </a:lnTo>
                <a:lnTo>
                  <a:pt x="10524376" y="10660856"/>
                </a:lnTo>
                <a:close/>
              </a:path>
              <a:path w="13852525" h="11308715">
                <a:moveTo>
                  <a:pt x="9253203" y="10025856"/>
                </a:moveTo>
                <a:lnTo>
                  <a:pt x="7875927" y="10025856"/>
                </a:lnTo>
                <a:lnTo>
                  <a:pt x="8408372" y="10305256"/>
                </a:lnTo>
                <a:lnTo>
                  <a:pt x="8499343" y="10648156"/>
                </a:lnTo>
                <a:lnTo>
                  <a:pt x="10516980" y="10648156"/>
                </a:lnTo>
                <a:lnTo>
                  <a:pt x="10413427" y="10470356"/>
                </a:lnTo>
                <a:lnTo>
                  <a:pt x="9327893" y="10470356"/>
                </a:lnTo>
                <a:lnTo>
                  <a:pt x="8539708" y="10241756"/>
                </a:lnTo>
                <a:lnTo>
                  <a:pt x="8539834" y="10038556"/>
                </a:lnTo>
                <a:lnTo>
                  <a:pt x="9256753" y="10038556"/>
                </a:lnTo>
                <a:lnTo>
                  <a:pt x="9253203" y="10025856"/>
                </a:lnTo>
                <a:close/>
              </a:path>
              <a:path w="13852525" h="11308715">
                <a:moveTo>
                  <a:pt x="9207049" y="9860756"/>
                </a:moveTo>
                <a:lnTo>
                  <a:pt x="7259580" y="9860756"/>
                </a:lnTo>
                <a:lnTo>
                  <a:pt x="7685860" y="10254456"/>
                </a:lnTo>
                <a:lnTo>
                  <a:pt x="7686069" y="10597356"/>
                </a:lnTo>
                <a:lnTo>
                  <a:pt x="8414694" y="10597356"/>
                </a:lnTo>
                <a:lnTo>
                  <a:pt x="7822149" y="10241756"/>
                </a:lnTo>
                <a:lnTo>
                  <a:pt x="7875927" y="10025856"/>
                </a:lnTo>
                <a:lnTo>
                  <a:pt x="9253203" y="10025856"/>
                </a:lnTo>
                <a:lnTo>
                  <a:pt x="9207049" y="9860756"/>
                </a:lnTo>
                <a:close/>
              </a:path>
              <a:path w="13852525" h="11308715">
                <a:moveTo>
                  <a:pt x="13475066" y="9759156"/>
                </a:moveTo>
                <a:lnTo>
                  <a:pt x="12227920" y="10305256"/>
                </a:lnTo>
                <a:lnTo>
                  <a:pt x="12673708" y="10546556"/>
                </a:lnTo>
                <a:lnTo>
                  <a:pt x="13851902" y="10025856"/>
                </a:lnTo>
                <a:lnTo>
                  <a:pt x="13851902" y="9962356"/>
                </a:lnTo>
                <a:lnTo>
                  <a:pt x="13475066" y="9759156"/>
                </a:lnTo>
                <a:close/>
              </a:path>
              <a:path w="13852525" h="11308715">
                <a:moveTo>
                  <a:pt x="918223" y="9301956"/>
                </a:moveTo>
                <a:lnTo>
                  <a:pt x="874706" y="9314656"/>
                </a:lnTo>
                <a:lnTo>
                  <a:pt x="182915" y="10495756"/>
                </a:lnTo>
                <a:lnTo>
                  <a:pt x="226443" y="10470356"/>
                </a:lnTo>
                <a:lnTo>
                  <a:pt x="918223" y="9301956"/>
                </a:lnTo>
                <a:close/>
              </a:path>
              <a:path w="13852525" h="11308715">
                <a:moveTo>
                  <a:pt x="9256753" y="10038556"/>
                </a:moveTo>
                <a:lnTo>
                  <a:pt x="8539834" y="10038556"/>
                </a:lnTo>
                <a:lnTo>
                  <a:pt x="9147072" y="10152856"/>
                </a:lnTo>
                <a:lnTo>
                  <a:pt x="9327893" y="10470356"/>
                </a:lnTo>
                <a:lnTo>
                  <a:pt x="10413427" y="10470356"/>
                </a:lnTo>
                <a:lnTo>
                  <a:pt x="10272891" y="10229056"/>
                </a:lnTo>
                <a:lnTo>
                  <a:pt x="10279707" y="10229056"/>
                </a:lnTo>
                <a:lnTo>
                  <a:pt x="10877850" y="10076656"/>
                </a:lnTo>
                <a:lnTo>
                  <a:pt x="10113807" y="10076656"/>
                </a:lnTo>
                <a:lnTo>
                  <a:pt x="9263854" y="10063956"/>
                </a:lnTo>
                <a:lnTo>
                  <a:pt x="9256753" y="10038556"/>
                </a:lnTo>
                <a:close/>
              </a:path>
              <a:path w="13852525" h="11308715">
                <a:moveTo>
                  <a:pt x="6217188" y="9505156"/>
                </a:moveTo>
                <a:lnTo>
                  <a:pt x="5699250" y="9505156"/>
                </a:lnTo>
                <a:lnTo>
                  <a:pt x="5693554" y="9517856"/>
                </a:lnTo>
                <a:lnTo>
                  <a:pt x="5899569" y="10432256"/>
                </a:lnTo>
                <a:lnTo>
                  <a:pt x="6214962" y="10102056"/>
                </a:lnTo>
                <a:lnTo>
                  <a:pt x="6806761" y="10102056"/>
                </a:lnTo>
                <a:lnTo>
                  <a:pt x="6712367" y="9924256"/>
                </a:lnTo>
                <a:lnTo>
                  <a:pt x="6311860" y="9924256"/>
                </a:lnTo>
                <a:lnTo>
                  <a:pt x="6217188" y="9505156"/>
                </a:lnTo>
                <a:close/>
              </a:path>
              <a:path w="13852525" h="11308715">
                <a:moveTo>
                  <a:pt x="9853036" y="9543256"/>
                </a:moveTo>
                <a:lnTo>
                  <a:pt x="6729292" y="9543256"/>
                </a:lnTo>
                <a:lnTo>
                  <a:pt x="7027000" y="10025856"/>
                </a:lnTo>
                <a:lnTo>
                  <a:pt x="6941610" y="10356056"/>
                </a:lnTo>
                <a:lnTo>
                  <a:pt x="7458393" y="10356056"/>
                </a:lnTo>
                <a:lnTo>
                  <a:pt x="7158818" y="10038556"/>
                </a:lnTo>
                <a:lnTo>
                  <a:pt x="7259580" y="9860756"/>
                </a:lnTo>
                <a:lnTo>
                  <a:pt x="9207049" y="9860756"/>
                </a:lnTo>
                <a:lnTo>
                  <a:pt x="9850537" y="9809956"/>
                </a:lnTo>
                <a:lnTo>
                  <a:pt x="11233329" y="9809956"/>
                </a:lnTo>
                <a:lnTo>
                  <a:pt x="11116350" y="9695656"/>
                </a:lnTo>
                <a:lnTo>
                  <a:pt x="9943571" y="9695656"/>
                </a:lnTo>
                <a:lnTo>
                  <a:pt x="9853036" y="9543256"/>
                </a:lnTo>
                <a:close/>
              </a:path>
              <a:path w="13852525" h="11308715">
                <a:moveTo>
                  <a:pt x="1727580" y="9060656"/>
                </a:moveTo>
                <a:lnTo>
                  <a:pt x="1599951" y="9111456"/>
                </a:lnTo>
                <a:lnTo>
                  <a:pt x="979394" y="10229056"/>
                </a:lnTo>
                <a:lnTo>
                  <a:pt x="1107013" y="10190956"/>
                </a:lnTo>
                <a:lnTo>
                  <a:pt x="1727580" y="9060656"/>
                </a:lnTo>
                <a:close/>
              </a:path>
              <a:path w="13852525" h="11308715">
                <a:moveTo>
                  <a:pt x="5115655" y="8946356"/>
                </a:moveTo>
                <a:lnTo>
                  <a:pt x="4687553" y="9213056"/>
                </a:lnTo>
                <a:lnTo>
                  <a:pt x="4592258" y="10203656"/>
                </a:lnTo>
                <a:lnTo>
                  <a:pt x="5020360" y="9936956"/>
                </a:lnTo>
                <a:lnTo>
                  <a:pt x="5115655" y="8946356"/>
                </a:lnTo>
                <a:close/>
              </a:path>
              <a:path w="13852525" h="11308715">
                <a:moveTo>
                  <a:pt x="11233329" y="9809956"/>
                </a:moveTo>
                <a:lnTo>
                  <a:pt x="9850537" y="9809956"/>
                </a:lnTo>
                <a:lnTo>
                  <a:pt x="10113807" y="10076656"/>
                </a:lnTo>
                <a:lnTo>
                  <a:pt x="10877850" y="10076656"/>
                </a:lnTo>
                <a:lnTo>
                  <a:pt x="11376302" y="9949656"/>
                </a:lnTo>
                <a:lnTo>
                  <a:pt x="11233329" y="9809956"/>
                </a:lnTo>
                <a:close/>
              </a:path>
              <a:path w="13852525" h="11308715">
                <a:moveTo>
                  <a:pt x="12433862" y="9213056"/>
                </a:moveTo>
                <a:lnTo>
                  <a:pt x="11297383" y="9771856"/>
                </a:lnTo>
                <a:lnTo>
                  <a:pt x="11840833" y="10063956"/>
                </a:lnTo>
                <a:lnTo>
                  <a:pt x="12977322" y="9505156"/>
                </a:lnTo>
                <a:lnTo>
                  <a:pt x="12433862" y="9213056"/>
                </a:lnTo>
                <a:close/>
              </a:path>
              <a:path w="13852525" h="11308715">
                <a:moveTo>
                  <a:pt x="2536927" y="8832056"/>
                </a:moveTo>
                <a:lnTo>
                  <a:pt x="2325217" y="8908256"/>
                </a:lnTo>
                <a:lnTo>
                  <a:pt x="1775893" y="9975056"/>
                </a:lnTo>
                <a:lnTo>
                  <a:pt x="1987583" y="9911556"/>
                </a:lnTo>
                <a:lnTo>
                  <a:pt x="2536927" y="8832056"/>
                </a:lnTo>
                <a:close/>
              </a:path>
              <a:path w="13852525" h="11308715">
                <a:moveTo>
                  <a:pt x="10489852" y="9111456"/>
                </a:moveTo>
                <a:lnTo>
                  <a:pt x="6315661" y="9111456"/>
                </a:lnTo>
                <a:lnTo>
                  <a:pt x="6472200" y="9644856"/>
                </a:lnTo>
                <a:lnTo>
                  <a:pt x="6311860" y="9924256"/>
                </a:lnTo>
                <a:lnTo>
                  <a:pt x="6712367" y="9924256"/>
                </a:lnTo>
                <a:lnTo>
                  <a:pt x="6591003" y="9695656"/>
                </a:lnTo>
                <a:lnTo>
                  <a:pt x="6729292" y="9543256"/>
                </a:lnTo>
                <a:lnTo>
                  <a:pt x="9853036" y="9543256"/>
                </a:lnTo>
                <a:lnTo>
                  <a:pt x="9830402" y="9505156"/>
                </a:lnTo>
                <a:lnTo>
                  <a:pt x="10466644" y="9289256"/>
                </a:lnTo>
                <a:lnTo>
                  <a:pt x="11532261" y="9289256"/>
                </a:lnTo>
                <a:lnTo>
                  <a:pt x="11783015" y="9149556"/>
                </a:lnTo>
                <a:lnTo>
                  <a:pt x="10527909" y="9149556"/>
                </a:lnTo>
                <a:lnTo>
                  <a:pt x="10489852" y="9111456"/>
                </a:lnTo>
                <a:close/>
              </a:path>
              <a:path w="13852525" h="11308715">
                <a:moveTo>
                  <a:pt x="5854782" y="8819356"/>
                </a:moveTo>
                <a:lnTo>
                  <a:pt x="5368265" y="8819356"/>
                </a:lnTo>
                <a:lnTo>
                  <a:pt x="5361413" y="8821283"/>
                </a:lnTo>
                <a:lnTo>
                  <a:pt x="5324057" y="9746456"/>
                </a:lnTo>
                <a:lnTo>
                  <a:pt x="5699250" y="9505156"/>
                </a:lnTo>
                <a:lnTo>
                  <a:pt x="6217188" y="9505156"/>
                </a:lnTo>
                <a:lnTo>
                  <a:pt x="6185631" y="9365456"/>
                </a:lnTo>
                <a:lnTo>
                  <a:pt x="5832366" y="9365456"/>
                </a:lnTo>
                <a:lnTo>
                  <a:pt x="5854782" y="8819356"/>
                </a:lnTo>
                <a:close/>
              </a:path>
              <a:path w="13852525" h="11308715">
                <a:moveTo>
                  <a:pt x="3346275" y="8603456"/>
                </a:moveTo>
                <a:lnTo>
                  <a:pt x="3050472" y="8692356"/>
                </a:lnTo>
                <a:lnTo>
                  <a:pt x="2572382" y="9721056"/>
                </a:lnTo>
                <a:lnTo>
                  <a:pt x="2868174" y="9619456"/>
                </a:lnTo>
                <a:lnTo>
                  <a:pt x="3346275" y="8603456"/>
                </a:lnTo>
                <a:close/>
              </a:path>
              <a:path w="13852525" h="11308715">
                <a:moveTo>
                  <a:pt x="11532261" y="9289256"/>
                </a:moveTo>
                <a:lnTo>
                  <a:pt x="10466644" y="9289256"/>
                </a:lnTo>
                <a:lnTo>
                  <a:pt x="10798718" y="9467056"/>
                </a:lnTo>
                <a:lnTo>
                  <a:pt x="9943571" y="9695656"/>
                </a:lnTo>
                <a:lnTo>
                  <a:pt x="11116350" y="9695656"/>
                </a:lnTo>
                <a:lnTo>
                  <a:pt x="10999371" y="9581356"/>
                </a:lnTo>
                <a:lnTo>
                  <a:pt x="11007958" y="9581356"/>
                </a:lnTo>
                <a:lnTo>
                  <a:pt x="11532261" y="9289256"/>
                </a:lnTo>
                <a:close/>
              </a:path>
              <a:path w="13852525" h="11308715">
                <a:moveTo>
                  <a:pt x="4155632" y="8374856"/>
                </a:moveTo>
                <a:lnTo>
                  <a:pt x="3775727" y="8489156"/>
                </a:lnTo>
                <a:lnTo>
                  <a:pt x="3368860" y="9454356"/>
                </a:lnTo>
                <a:lnTo>
                  <a:pt x="3748765" y="9340056"/>
                </a:lnTo>
                <a:lnTo>
                  <a:pt x="4155632" y="8374856"/>
                </a:lnTo>
                <a:close/>
              </a:path>
              <a:path w="13852525" h="11308715">
                <a:moveTo>
                  <a:pt x="11727822" y="8590756"/>
                </a:moveTo>
                <a:lnTo>
                  <a:pt x="6039638" y="8590756"/>
                </a:lnTo>
                <a:lnTo>
                  <a:pt x="6052663" y="9136856"/>
                </a:lnTo>
                <a:lnTo>
                  <a:pt x="5832366" y="9365456"/>
                </a:lnTo>
                <a:lnTo>
                  <a:pt x="6185631" y="9365456"/>
                </a:lnTo>
                <a:lnTo>
                  <a:pt x="6151205" y="9213056"/>
                </a:lnTo>
                <a:lnTo>
                  <a:pt x="6315661" y="9111456"/>
                </a:lnTo>
                <a:lnTo>
                  <a:pt x="10489852" y="9111456"/>
                </a:lnTo>
                <a:lnTo>
                  <a:pt x="10362993" y="8984456"/>
                </a:lnTo>
                <a:lnTo>
                  <a:pt x="10946389" y="8603456"/>
                </a:lnTo>
                <a:lnTo>
                  <a:pt x="11714521" y="8603456"/>
                </a:lnTo>
                <a:lnTo>
                  <a:pt x="11727822" y="8590756"/>
                </a:lnTo>
                <a:close/>
              </a:path>
              <a:path w="13852525" h="11308715">
                <a:moveTo>
                  <a:pt x="13851902" y="8451056"/>
                </a:moveTo>
                <a:lnTo>
                  <a:pt x="12983206" y="9124156"/>
                </a:lnTo>
                <a:lnTo>
                  <a:pt x="13494719" y="9251156"/>
                </a:lnTo>
                <a:lnTo>
                  <a:pt x="13851902" y="8959056"/>
                </a:lnTo>
                <a:lnTo>
                  <a:pt x="13851902" y="8451056"/>
                </a:lnTo>
                <a:close/>
              </a:path>
              <a:path w="13852525" h="11308715">
                <a:moveTo>
                  <a:pt x="4964979" y="8133556"/>
                </a:moveTo>
                <a:lnTo>
                  <a:pt x="4500993" y="8285956"/>
                </a:lnTo>
                <a:lnTo>
                  <a:pt x="4165328" y="9200356"/>
                </a:lnTo>
                <a:lnTo>
                  <a:pt x="4629345" y="9047956"/>
                </a:lnTo>
                <a:lnTo>
                  <a:pt x="4964979" y="8133556"/>
                </a:lnTo>
                <a:close/>
              </a:path>
              <a:path w="13852525" h="11308715">
                <a:moveTo>
                  <a:pt x="11714521" y="8603456"/>
                </a:moveTo>
                <a:lnTo>
                  <a:pt x="10946389" y="8603456"/>
                </a:lnTo>
                <a:lnTo>
                  <a:pt x="11327843" y="8692356"/>
                </a:lnTo>
                <a:lnTo>
                  <a:pt x="10527909" y="9149556"/>
                </a:lnTo>
                <a:lnTo>
                  <a:pt x="11783015" y="9149556"/>
                </a:lnTo>
                <a:lnTo>
                  <a:pt x="12033769" y="9009856"/>
                </a:lnTo>
                <a:lnTo>
                  <a:pt x="11558349" y="8743156"/>
                </a:lnTo>
                <a:lnTo>
                  <a:pt x="11568202" y="8743156"/>
                </a:lnTo>
                <a:lnTo>
                  <a:pt x="11714521" y="8603456"/>
                </a:lnTo>
                <a:close/>
              </a:path>
              <a:path w="13852525" h="11308715">
                <a:moveTo>
                  <a:pt x="12901020" y="7993856"/>
                </a:moveTo>
                <a:lnTo>
                  <a:pt x="11907469" y="8857456"/>
                </a:lnTo>
                <a:lnTo>
                  <a:pt x="12531471" y="8997156"/>
                </a:lnTo>
                <a:lnTo>
                  <a:pt x="13525022" y="8133556"/>
                </a:lnTo>
                <a:lnTo>
                  <a:pt x="12901020" y="7993856"/>
                </a:lnTo>
                <a:close/>
              </a:path>
              <a:path w="13852525" h="11308715">
                <a:moveTo>
                  <a:pt x="5725039" y="8070056"/>
                </a:moveTo>
                <a:lnTo>
                  <a:pt x="5233589" y="8070056"/>
                </a:lnTo>
                <a:lnTo>
                  <a:pt x="5226178" y="8070286"/>
                </a:lnTo>
                <a:lnTo>
                  <a:pt x="4961838" y="8933656"/>
                </a:lnTo>
                <a:lnTo>
                  <a:pt x="5361413" y="8821283"/>
                </a:lnTo>
                <a:lnTo>
                  <a:pt x="5361491" y="8819356"/>
                </a:lnTo>
                <a:lnTo>
                  <a:pt x="5854782" y="8819356"/>
                </a:lnTo>
                <a:lnTo>
                  <a:pt x="5858953" y="8717756"/>
                </a:lnTo>
                <a:lnTo>
                  <a:pt x="5526627" y="8717756"/>
                </a:lnTo>
                <a:lnTo>
                  <a:pt x="5725039" y="8070056"/>
                </a:lnTo>
                <a:close/>
              </a:path>
              <a:path w="13852525" h="11308715">
                <a:moveTo>
                  <a:pt x="5368265" y="8819356"/>
                </a:moveTo>
                <a:lnTo>
                  <a:pt x="5361491" y="8819356"/>
                </a:lnTo>
                <a:lnTo>
                  <a:pt x="5361413" y="8821283"/>
                </a:lnTo>
                <a:lnTo>
                  <a:pt x="5368265" y="8819356"/>
                </a:lnTo>
                <a:close/>
              </a:path>
              <a:path w="13852525" h="11308715">
                <a:moveTo>
                  <a:pt x="11034068" y="8031956"/>
                </a:moveTo>
                <a:lnTo>
                  <a:pt x="5911840" y="8031956"/>
                </a:lnTo>
                <a:lnTo>
                  <a:pt x="5788671" y="8552656"/>
                </a:lnTo>
                <a:lnTo>
                  <a:pt x="5526627" y="8717756"/>
                </a:lnTo>
                <a:lnTo>
                  <a:pt x="5858953" y="8717756"/>
                </a:lnTo>
                <a:lnTo>
                  <a:pt x="5861559" y="8654256"/>
                </a:lnTo>
                <a:lnTo>
                  <a:pt x="6039638" y="8590756"/>
                </a:lnTo>
                <a:lnTo>
                  <a:pt x="11727822" y="8590756"/>
                </a:lnTo>
                <a:lnTo>
                  <a:pt x="11887442" y="8438356"/>
                </a:lnTo>
                <a:lnTo>
                  <a:pt x="10969582" y="8438356"/>
                </a:lnTo>
                <a:lnTo>
                  <a:pt x="10761483" y="8324056"/>
                </a:lnTo>
                <a:lnTo>
                  <a:pt x="11034068" y="8031956"/>
                </a:lnTo>
                <a:close/>
              </a:path>
              <a:path w="13852525" h="11308715">
                <a:moveTo>
                  <a:pt x="11954577" y="7790656"/>
                </a:moveTo>
                <a:lnTo>
                  <a:pt x="11654158" y="7790656"/>
                </a:lnTo>
                <a:lnTo>
                  <a:pt x="10969582" y="8438356"/>
                </a:lnTo>
                <a:lnTo>
                  <a:pt x="11887442" y="8438356"/>
                </a:lnTo>
                <a:lnTo>
                  <a:pt x="12446113" y="7904956"/>
                </a:lnTo>
                <a:lnTo>
                  <a:pt x="11954577" y="7790656"/>
                </a:lnTo>
                <a:close/>
              </a:path>
              <a:path w="13852525" h="11308715">
                <a:moveTo>
                  <a:pt x="979970" y="7396956"/>
                </a:moveTo>
                <a:lnTo>
                  <a:pt x="935060" y="7409656"/>
                </a:lnTo>
                <a:lnTo>
                  <a:pt x="0" y="8349456"/>
                </a:lnTo>
                <a:lnTo>
                  <a:pt x="44899" y="8336756"/>
                </a:lnTo>
                <a:lnTo>
                  <a:pt x="979970" y="7396956"/>
                </a:lnTo>
                <a:close/>
              </a:path>
              <a:path w="13852525" h="11308715">
                <a:moveTo>
                  <a:pt x="1789442" y="7384256"/>
                </a:moveTo>
                <a:lnTo>
                  <a:pt x="1660137" y="7396956"/>
                </a:lnTo>
                <a:lnTo>
                  <a:pt x="804153" y="8298656"/>
                </a:lnTo>
                <a:lnTo>
                  <a:pt x="933427" y="8298656"/>
                </a:lnTo>
                <a:lnTo>
                  <a:pt x="1789442" y="7384256"/>
                </a:lnTo>
                <a:close/>
              </a:path>
              <a:path w="13852525" h="11308715">
                <a:moveTo>
                  <a:pt x="2598884" y="7371556"/>
                </a:moveTo>
                <a:lnTo>
                  <a:pt x="2385225" y="7384256"/>
                </a:lnTo>
                <a:lnTo>
                  <a:pt x="1608296" y="8260556"/>
                </a:lnTo>
                <a:lnTo>
                  <a:pt x="1821944" y="8247856"/>
                </a:lnTo>
                <a:lnTo>
                  <a:pt x="2598884" y="7371556"/>
                </a:lnTo>
                <a:close/>
              </a:path>
              <a:path w="13852525" h="11308715">
                <a:moveTo>
                  <a:pt x="3408325" y="7358856"/>
                </a:moveTo>
                <a:lnTo>
                  <a:pt x="3110324" y="7371556"/>
                </a:lnTo>
                <a:lnTo>
                  <a:pt x="2412450" y="8222456"/>
                </a:lnTo>
                <a:lnTo>
                  <a:pt x="2710472" y="8197056"/>
                </a:lnTo>
                <a:lnTo>
                  <a:pt x="3408325" y="7358856"/>
                </a:lnTo>
                <a:close/>
              </a:path>
              <a:path w="13852525" h="11308715">
                <a:moveTo>
                  <a:pt x="4217798" y="7346156"/>
                </a:moveTo>
                <a:lnTo>
                  <a:pt x="3835401" y="7358856"/>
                </a:lnTo>
                <a:lnTo>
                  <a:pt x="3216593" y="8171656"/>
                </a:lnTo>
                <a:lnTo>
                  <a:pt x="3598979" y="8158956"/>
                </a:lnTo>
                <a:lnTo>
                  <a:pt x="4217798" y="7346156"/>
                </a:lnTo>
                <a:close/>
              </a:path>
              <a:path w="13852525" h="11308715">
                <a:moveTo>
                  <a:pt x="5027260" y="7333456"/>
                </a:moveTo>
                <a:lnTo>
                  <a:pt x="4560478" y="7346156"/>
                </a:lnTo>
                <a:lnTo>
                  <a:pt x="4020736" y="8133556"/>
                </a:lnTo>
                <a:lnTo>
                  <a:pt x="4487507" y="8108156"/>
                </a:lnTo>
                <a:lnTo>
                  <a:pt x="5027260" y="7333456"/>
                </a:lnTo>
                <a:close/>
              </a:path>
              <a:path w="13852525" h="11308715">
                <a:moveTo>
                  <a:pt x="11539800" y="6863556"/>
                </a:moveTo>
                <a:lnTo>
                  <a:pt x="5944960" y="6863556"/>
                </a:lnTo>
                <a:lnTo>
                  <a:pt x="6091165" y="6939756"/>
                </a:lnTo>
                <a:lnTo>
                  <a:pt x="5750913" y="7320756"/>
                </a:lnTo>
                <a:lnTo>
                  <a:pt x="5465456" y="7333456"/>
                </a:lnTo>
                <a:lnTo>
                  <a:pt x="5285566" y="7333456"/>
                </a:lnTo>
                <a:lnTo>
                  <a:pt x="4824879" y="8082756"/>
                </a:lnTo>
                <a:lnTo>
                  <a:pt x="5226178" y="8070286"/>
                </a:lnTo>
                <a:lnTo>
                  <a:pt x="5226249" y="8070056"/>
                </a:lnTo>
                <a:lnTo>
                  <a:pt x="5725039" y="8070056"/>
                </a:lnTo>
                <a:lnTo>
                  <a:pt x="5732820" y="8044656"/>
                </a:lnTo>
                <a:lnTo>
                  <a:pt x="5911840" y="8031956"/>
                </a:lnTo>
                <a:lnTo>
                  <a:pt x="11034068" y="8031956"/>
                </a:lnTo>
                <a:lnTo>
                  <a:pt x="11045920" y="8019256"/>
                </a:lnTo>
                <a:lnTo>
                  <a:pt x="5405133" y="8019256"/>
                </a:lnTo>
                <a:lnTo>
                  <a:pt x="5764379" y="7435056"/>
                </a:lnTo>
                <a:lnTo>
                  <a:pt x="11064475" y="7435056"/>
                </a:lnTo>
                <a:lnTo>
                  <a:pt x="11337424" y="6927056"/>
                </a:lnTo>
                <a:lnTo>
                  <a:pt x="11539800" y="6863556"/>
                </a:lnTo>
                <a:close/>
              </a:path>
              <a:path w="13852525" h="11308715">
                <a:moveTo>
                  <a:pt x="5233589" y="8070056"/>
                </a:moveTo>
                <a:lnTo>
                  <a:pt x="5226249" y="8070056"/>
                </a:lnTo>
                <a:lnTo>
                  <a:pt x="5226178" y="8070286"/>
                </a:lnTo>
                <a:lnTo>
                  <a:pt x="5233589" y="8070056"/>
                </a:lnTo>
                <a:close/>
              </a:path>
              <a:path w="13852525" h="11308715">
                <a:moveTo>
                  <a:pt x="11064475" y="7435056"/>
                </a:moveTo>
                <a:lnTo>
                  <a:pt x="5764379" y="7435056"/>
                </a:lnTo>
                <a:lnTo>
                  <a:pt x="5932290" y="7473156"/>
                </a:lnTo>
                <a:lnTo>
                  <a:pt x="5689010" y="7930356"/>
                </a:lnTo>
                <a:lnTo>
                  <a:pt x="5405133" y="8019256"/>
                </a:lnTo>
                <a:lnTo>
                  <a:pt x="11045920" y="8019256"/>
                </a:lnTo>
                <a:lnTo>
                  <a:pt x="11247395" y="7803356"/>
                </a:lnTo>
                <a:lnTo>
                  <a:pt x="11654158" y="7790656"/>
                </a:lnTo>
                <a:lnTo>
                  <a:pt x="11954577" y="7790656"/>
                </a:lnTo>
                <a:lnTo>
                  <a:pt x="11899962" y="7777956"/>
                </a:lnTo>
                <a:lnTo>
                  <a:pt x="11910475" y="7777956"/>
                </a:lnTo>
                <a:lnTo>
                  <a:pt x="11996729" y="7638256"/>
                </a:lnTo>
                <a:lnTo>
                  <a:pt x="11228548" y="7638256"/>
                </a:lnTo>
                <a:lnTo>
                  <a:pt x="10989414" y="7574756"/>
                </a:lnTo>
                <a:lnTo>
                  <a:pt x="11064475" y="7435056"/>
                </a:lnTo>
                <a:close/>
              </a:path>
              <a:path w="13852525" h="11308715">
                <a:moveTo>
                  <a:pt x="13715058" y="6647656"/>
                </a:moveTo>
                <a:lnTo>
                  <a:pt x="13049916" y="6673056"/>
                </a:lnTo>
                <a:lnTo>
                  <a:pt x="12278526" y="7790656"/>
                </a:lnTo>
                <a:lnTo>
                  <a:pt x="12943658" y="7765256"/>
                </a:lnTo>
                <a:lnTo>
                  <a:pt x="13715058" y="6647656"/>
                </a:lnTo>
                <a:close/>
              </a:path>
              <a:path w="13852525" h="11308715">
                <a:moveTo>
                  <a:pt x="13851902" y="7219156"/>
                </a:moveTo>
                <a:lnTo>
                  <a:pt x="13431926" y="7765256"/>
                </a:lnTo>
                <a:lnTo>
                  <a:pt x="13851902" y="7752556"/>
                </a:lnTo>
                <a:lnTo>
                  <a:pt x="13851902" y="7219156"/>
                </a:lnTo>
                <a:close/>
              </a:path>
              <a:path w="13852525" h="11308715">
                <a:moveTo>
                  <a:pt x="12514256" y="6800056"/>
                </a:moveTo>
                <a:lnTo>
                  <a:pt x="11742176" y="6800056"/>
                </a:lnTo>
                <a:lnTo>
                  <a:pt x="11228548" y="7638256"/>
                </a:lnTo>
                <a:lnTo>
                  <a:pt x="11996729" y="7638256"/>
                </a:lnTo>
                <a:lnTo>
                  <a:pt x="12514256" y="6800056"/>
                </a:lnTo>
                <a:close/>
              </a:path>
              <a:path w="13852525" h="11308715">
                <a:moveTo>
                  <a:pt x="5518683" y="6653162"/>
                </a:moveTo>
                <a:lnTo>
                  <a:pt x="4909473" y="7244556"/>
                </a:lnTo>
                <a:lnTo>
                  <a:pt x="5292969" y="7333456"/>
                </a:lnTo>
                <a:lnTo>
                  <a:pt x="5465456" y="7333456"/>
                </a:lnTo>
                <a:lnTo>
                  <a:pt x="5944960" y="6863556"/>
                </a:lnTo>
                <a:lnTo>
                  <a:pt x="11539800" y="6863556"/>
                </a:lnTo>
                <a:lnTo>
                  <a:pt x="11742176" y="6800056"/>
                </a:lnTo>
                <a:lnTo>
                  <a:pt x="12514256" y="6800056"/>
                </a:lnTo>
                <a:lnTo>
                  <a:pt x="12529939" y="6774656"/>
                </a:lnTo>
                <a:lnTo>
                  <a:pt x="11020240" y="6774656"/>
                </a:lnTo>
                <a:lnTo>
                  <a:pt x="11026344" y="6749256"/>
                </a:lnTo>
                <a:lnTo>
                  <a:pt x="5960991" y="6749256"/>
                </a:lnTo>
                <a:lnTo>
                  <a:pt x="5693135" y="6685756"/>
                </a:lnTo>
                <a:lnTo>
                  <a:pt x="5737997" y="6660356"/>
                </a:lnTo>
                <a:lnTo>
                  <a:pt x="5531297" y="6660356"/>
                </a:lnTo>
                <a:lnTo>
                  <a:pt x="5518683" y="6653162"/>
                </a:lnTo>
                <a:close/>
              </a:path>
              <a:path w="13852525" h="11308715">
                <a:moveTo>
                  <a:pt x="4847957" y="6482556"/>
                </a:moveTo>
                <a:lnTo>
                  <a:pt x="4151925" y="7079456"/>
                </a:lnTo>
                <a:lnTo>
                  <a:pt x="4590069" y="7181056"/>
                </a:lnTo>
                <a:lnTo>
                  <a:pt x="5286111" y="6584156"/>
                </a:lnTo>
                <a:lnTo>
                  <a:pt x="4847957" y="6482556"/>
                </a:lnTo>
                <a:close/>
              </a:path>
              <a:path w="13852525" h="11308715">
                <a:moveTo>
                  <a:pt x="4171558" y="6304756"/>
                </a:moveTo>
                <a:lnTo>
                  <a:pt x="3394367" y="6914356"/>
                </a:lnTo>
                <a:lnTo>
                  <a:pt x="3753519" y="7003256"/>
                </a:lnTo>
                <a:lnTo>
                  <a:pt x="4530731" y="6393656"/>
                </a:lnTo>
                <a:lnTo>
                  <a:pt x="4171558" y="6304756"/>
                </a:lnTo>
                <a:close/>
              </a:path>
              <a:path w="13852525" h="11308715">
                <a:moveTo>
                  <a:pt x="3495139" y="6139656"/>
                </a:moveTo>
                <a:lnTo>
                  <a:pt x="2636809" y="6761956"/>
                </a:lnTo>
                <a:lnTo>
                  <a:pt x="2916968" y="6825456"/>
                </a:lnTo>
                <a:lnTo>
                  <a:pt x="3775330" y="6203156"/>
                </a:lnTo>
                <a:lnTo>
                  <a:pt x="3495139" y="6139656"/>
                </a:lnTo>
                <a:close/>
              </a:path>
              <a:path w="13852525" h="11308715">
                <a:moveTo>
                  <a:pt x="12278779" y="5809456"/>
                </a:moveTo>
                <a:lnTo>
                  <a:pt x="11571134" y="5809456"/>
                </a:lnTo>
                <a:lnTo>
                  <a:pt x="11275332" y="6774656"/>
                </a:lnTo>
                <a:lnTo>
                  <a:pt x="12529939" y="6774656"/>
                </a:lnTo>
                <a:lnTo>
                  <a:pt x="12561304" y="6723856"/>
                </a:lnTo>
                <a:lnTo>
                  <a:pt x="11986744" y="6723856"/>
                </a:lnTo>
                <a:lnTo>
                  <a:pt x="11997286" y="6723626"/>
                </a:lnTo>
                <a:lnTo>
                  <a:pt x="12278779" y="5809456"/>
                </a:lnTo>
                <a:close/>
              </a:path>
              <a:path w="13852525" h="11308715">
                <a:moveTo>
                  <a:pt x="11117907" y="6368256"/>
                </a:moveTo>
                <a:lnTo>
                  <a:pt x="6253903" y="6368256"/>
                </a:lnTo>
                <a:lnTo>
                  <a:pt x="6369868" y="6482556"/>
                </a:lnTo>
                <a:lnTo>
                  <a:pt x="5960991" y="6749256"/>
                </a:lnTo>
                <a:lnTo>
                  <a:pt x="11026344" y="6749256"/>
                </a:lnTo>
                <a:lnTo>
                  <a:pt x="11117907" y="6368256"/>
                </a:lnTo>
                <a:close/>
              </a:path>
              <a:path w="13852525" h="11308715">
                <a:moveTo>
                  <a:pt x="11997286" y="6723626"/>
                </a:moveTo>
                <a:lnTo>
                  <a:pt x="11986744" y="6723856"/>
                </a:lnTo>
                <a:lnTo>
                  <a:pt x="11997215" y="6723856"/>
                </a:lnTo>
                <a:lnTo>
                  <a:pt x="11997286" y="6723626"/>
                </a:lnTo>
                <a:close/>
              </a:path>
              <a:path w="13852525" h="11308715">
                <a:moveTo>
                  <a:pt x="12569146" y="6711156"/>
                </a:moveTo>
                <a:lnTo>
                  <a:pt x="11997286" y="6723626"/>
                </a:lnTo>
                <a:lnTo>
                  <a:pt x="11997215" y="6723856"/>
                </a:lnTo>
                <a:lnTo>
                  <a:pt x="12561304" y="6723856"/>
                </a:lnTo>
                <a:lnTo>
                  <a:pt x="12569146" y="6711156"/>
                </a:lnTo>
                <a:close/>
              </a:path>
              <a:path w="13852525" h="11308715">
                <a:moveTo>
                  <a:pt x="5524355" y="6647656"/>
                </a:moveTo>
                <a:lnTo>
                  <a:pt x="5518683" y="6653162"/>
                </a:lnTo>
                <a:lnTo>
                  <a:pt x="5531297" y="6660356"/>
                </a:lnTo>
                <a:lnTo>
                  <a:pt x="5524355" y="6647656"/>
                </a:lnTo>
                <a:close/>
              </a:path>
              <a:path w="13852525" h="11308715">
                <a:moveTo>
                  <a:pt x="5760427" y="6647656"/>
                </a:moveTo>
                <a:lnTo>
                  <a:pt x="5524355" y="6647656"/>
                </a:lnTo>
                <a:lnTo>
                  <a:pt x="5531297" y="6660356"/>
                </a:lnTo>
                <a:lnTo>
                  <a:pt x="5737997" y="6660356"/>
                </a:lnTo>
                <a:lnTo>
                  <a:pt x="5760427" y="6647656"/>
                </a:lnTo>
                <a:close/>
              </a:path>
              <a:path w="13852525" h="11308715">
                <a:moveTo>
                  <a:pt x="6424317" y="5606831"/>
                </a:moveTo>
                <a:lnTo>
                  <a:pt x="5657293" y="5809456"/>
                </a:lnTo>
                <a:lnTo>
                  <a:pt x="5922374" y="6063456"/>
                </a:lnTo>
                <a:lnTo>
                  <a:pt x="5916343" y="6063456"/>
                </a:lnTo>
                <a:lnTo>
                  <a:pt x="5197244" y="6469856"/>
                </a:lnTo>
                <a:lnTo>
                  <a:pt x="5518683" y="6653162"/>
                </a:lnTo>
                <a:lnTo>
                  <a:pt x="5524355" y="6647656"/>
                </a:lnTo>
                <a:lnTo>
                  <a:pt x="5760427" y="6647656"/>
                </a:lnTo>
                <a:lnTo>
                  <a:pt x="6253903" y="6368256"/>
                </a:lnTo>
                <a:lnTo>
                  <a:pt x="11117907" y="6368256"/>
                </a:lnTo>
                <a:lnTo>
                  <a:pt x="11142323" y="6266656"/>
                </a:lnTo>
                <a:lnTo>
                  <a:pt x="6296677" y="6266656"/>
                </a:lnTo>
                <a:lnTo>
                  <a:pt x="6063354" y="6139656"/>
                </a:lnTo>
                <a:lnTo>
                  <a:pt x="6663200" y="5987256"/>
                </a:lnTo>
                <a:lnTo>
                  <a:pt x="10839816" y="5987256"/>
                </a:lnTo>
                <a:lnTo>
                  <a:pt x="10837873" y="5898356"/>
                </a:lnTo>
                <a:lnTo>
                  <a:pt x="6728318" y="5898356"/>
                </a:lnTo>
                <a:lnTo>
                  <a:pt x="6543162" y="5720556"/>
                </a:lnTo>
                <a:lnTo>
                  <a:pt x="7526064" y="5720556"/>
                </a:lnTo>
                <a:lnTo>
                  <a:pt x="7221518" y="5657056"/>
                </a:lnTo>
                <a:lnTo>
                  <a:pt x="7199043" y="5618956"/>
                </a:lnTo>
                <a:lnTo>
                  <a:pt x="6431280" y="5618956"/>
                </a:lnTo>
                <a:lnTo>
                  <a:pt x="6424317" y="5606831"/>
                </a:lnTo>
                <a:close/>
              </a:path>
              <a:path w="13852525" h="11308715">
                <a:moveTo>
                  <a:pt x="2818762" y="5961856"/>
                </a:moveTo>
                <a:lnTo>
                  <a:pt x="1879251" y="6596856"/>
                </a:lnTo>
                <a:lnTo>
                  <a:pt x="2080439" y="6634956"/>
                </a:lnTo>
                <a:lnTo>
                  <a:pt x="3019960" y="5999956"/>
                </a:lnTo>
                <a:lnTo>
                  <a:pt x="2818762" y="5961856"/>
                </a:lnTo>
                <a:close/>
              </a:path>
              <a:path w="13852525" h="11308715">
                <a:moveTo>
                  <a:pt x="13512185" y="5123656"/>
                </a:moveTo>
                <a:lnTo>
                  <a:pt x="12850645" y="5326856"/>
                </a:lnTo>
                <a:lnTo>
                  <a:pt x="12369675" y="6634956"/>
                </a:lnTo>
                <a:lnTo>
                  <a:pt x="13031205" y="6431756"/>
                </a:lnTo>
                <a:lnTo>
                  <a:pt x="13512185" y="5123656"/>
                </a:lnTo>
                <a:close/>
              </a:path>
              <a:path w="13852525" h="11308715">
                <a:moveTo>
                  <a:pt x="2142343" y="5784056"/>
                </a:moveTo>
                <a:lnTo>
                  <a:pt x="1121683" y="6431756"/>
                </a:lnTo>
                <a:lnTo>
                  <a:pt x="1243888" y="6457156"/>
                </a:lnTo>
                <a:lnTo>
                  <a:pt x="2264569" y="5809456"/>
                </a:lnTo>
                <a:lnTo>
                  <a:pt x="2142343" y="5784056"/>
                </a:lnTo>
                <a:close/>
              </a:path>
              <a:path w="13852525" h="11308715">
                <a:moveTo>
                  <a:pt x="5331094" y="5733256"/>
                </a:moveTo>
                <a:lnTo>
                  <a:pt x="4534301" y="6126956"/>
                </a:lnTo>
                <a:lnTo>
                  <a:pt x="4916153" y="6330156"/>
                </a:lnTo>
                <a:lnTo>
                  <a:pt x="5712935" y="5936456"/>
                </a:lnTo>
                <a:lnTo>
                  <a:pt x="5331094" y="5733256"/>
                </a:lnTo>
                <a:close/>
              </a:path>
              <a:path w="13852525" h="11308715">
                <a:moveTo>
                  <a:pt x="13851902" y="5530056"/>
                </a:moveTo>
                <a:lnTo>
                  <a:pt x="13523546" y="6304756"/>
                </a:lnTo>
                <a:lnTo>
                  <a:pt x="13851902" y="6203156"/>
                </a:lnTo>
                <a:lnTo>
                  <a:pt x="13851902" y="5530056"/>
                </a:lnTo>
                <a:close/>
              </a:path>
              <a:path w="13852525" h="11308715">
                <a:moveTo>
                  <a:pt x="1509179" y="5618956"/>
                </a:moveTo>
                <a:lnTo>
                  <a:pt x="1465955" y="5618956"/>
                </a:lnTo>
                <a:lnTo>
                  <a:pt x="364135" y="6266656"/>
                </a:lnTo>
                <a:lnTo>
                  <a:pt x="407359" y="6266656"/>
                </a:lnTo>
                <a:lnTo>
                  <a:pt x="1509179" y="5618956"/>
                </a:lnTo>
                <a:close/>
              </a:path>
              <a:path w="13852525" h="11308715">
                <a:moveTo>
                  <a:pt x="11840169" y="4882356"/>
                </a:moveTo>
                <a:lnTo>
                  <a:pt x="11137440" y="4882356"/>
                </a:lnTo>
                <a:lnTo>
                  <a:pt x="11093704" y="5898356"/>
                </a:lnTo>
                <a:lnTo>
                  <a:pt x="10839816" y="5987256"/>
                </a:lnTo>
                <a:lnTo>
                  <a:pt x="6663200" y="5987256"/>
                </a:lnTo>
                <a:lnTo>
                  <a:pt x="6742904" y="6126956"/>
                </a:lnTo>
                <a:lnTo>
                  <a:pt x="6296677" y="6266656"/>
                </a:lnTo>
                <a:lnTo>
                  <a:pt x="11142323" y="6266656"/>
                </a:lnTo>
                <a:lnTo>
                  <a:pt x="11197261" y="6038056"/>
                </a:lnTo>
                <a:lnTo>
                  <a:pt x="11571134" y="5809456"/>
                </a:lnTo>
                <a:lnTo>
                  <a:pt x="12278779" y="5809456"/>
                </a:lnTo>
                <a:lnTo>
                  <a:pt x="12321796" y="5669756"/>
                </a:lnTo>
                <a:lnTo>
                  <a:pt x="11797054" y="5669756"/>
                </a:lnTo>
                <a:lnTo>
                  <a:pt x="11806857" y="5666748"/>
                </a:lnTo>
                <a:lnTo>
                  <a:pt x="11840169" y="4882356"/>
                </a:lnTo>
                <a:close/>
              </a:path>
              <a:path w="13852525" h="11308715">
                <a:moveTo>
                  <a:pt x="4745855" y="5390356"/>
                </a:moveTo>
                <a:lnTo>
                  <a:pt x="3871369" y="5784056"/>
                </a:lnTo>
                <a:lnTo>
                  <a:pt x="4184595" y="5949156"/>
                </a:lnTo>
                <a:lnTo>
                  <a:pt x="5059081" y="5568156"/>
                </a:lnTo>
                <a:lnTo>
                  <a:pt x="4745855" y="5390356"/>
                </a:lnTo>
                <a:close/>
              </a:path>
              <a:path w="13852525" h="11308715">
                <a:moveTo>
                  <a:pt x="7526064" y="5720556"/>
                </a:moveTo>
                <a:lnTo>
                  <a:pt x="7139688" y="5720556"/>
                </a:lnTo>
                <a:lnTo>
                  <a:pt x="7179875" y="5872956"/>
                </a:lnTo>
                <a:lnTo>
                  <a:pt x="6728318" y="5898356"/>
                </a:lnTo>
                <a:lnTo>
                  <a:pt x="10837873" y="5898356"/>
                </a:lnTo>
                <a:lnTo>
                  <a:pt x="10834542" y="5745956"/>
                </a:lnTo>
                <a:lnTo>
                  <a:pt x="7647882" y="5745956"/>
                </a:lnTo>
                <a:lnTo>
                  <a:pt x="7526064" y="5720556"/>
                </a:lnTo>
                <a:close/>
              </a:path>
              <a:path w="13852525" h="11308715">
                <a:moveTo>
                  <a:pt x="7709259" y="5441156"/>
                </a:moveTo>
                <a:lnTo>
                  <a:pt x="7094160" y="5441156"/>
                </a:lnTo>
                <a:lnTo>
                  <a:pt x="7647651" y="5593556"/>
                </a:lnTo>
                <a:lnTo>
                  <a:pt x="7647882" y="5745956"/>
                </a:lnTo>
                <a:lnTo>
                  <a:pt x="10834542" y="5745956"/>
                </a:lnTo>
                <a:lnTo>
                  <a:pt x="10831212" y="5593556"/>
                </a:lnTo>
                <a:lnTo>
                  <a:pt x="7807228" y="5593556"/>
                </a:lnTo>
                <a:lnTo>
                  <a:pt x="7739743" y="5555456"/>
                </a:lnTo>
                <a:lnTo>
                  <a:pt x="7709259" y="5441156"/>
                </a:lnTo>
                <a:close/>
              </a:path>
              <a:path w="13852525" h="11308715">
                <a:moveTo>
                  <a:pt x="11806857" y="5666748"/>
                </a:moveTo>
                <a:lnTo>
                  <a:pt x="11797054" y="5669756"/>
                </a:lnTo>
                <a:lnTo>
                  <a:pt x="11806729" y="5669756"/>
                </a:lnTo>
                <a:lnTo>
                  <a:pt x="11806857" y="5666748"/>
                </a:lnTo>
                <a:close/>
              </a:path>
              <a:path w="13852525" h="11308715">
                <a:moveTo>
                  <a:pt x="12376544" y="5491956"/>
                </a:moveTo>
                <a:lnTo>
                  <a:pt x="11806857" y="5666748"/>
                </a:lnTo>
                <a:lnTo>
                  <a:pt x="11806729" y="5669756"/>
                </a:lnTo>
                <a:lnTo>
                  <a:pt x="12321796" y="5669756"/>
                </a:lnTo>
                <a:lnTo>
                  <a:pt x="12376544" y="5491956"/>
                </a:lnTo>
                <a:close/>
              </a:path>
              <a:path w="13852525" h="11308715">
                <a:moveTo>
                  <a:pt x="6426495" y="5606256"/>
                </a:moveTo>
                <a:lnTo>
                  <a:pt x="6424317" y="5606831"/>
                </a:lnTo>
                <a:lnTo>
                  <a:pt x="6431280" y="5618956"/>
                </a:lnTo>
                <a:lnTo>
                  <a:pt x="6426495" y="5606256"/>
                </a:lnTo>
                <a:close/>
              </a:path>
              <a:path w="13852525" h="11308715">
                <a:moveTo>
                  <a:pt x="7191551" y="5606256"/>
                </a:moveTo>
                <a:lnTo>
                  <a:pt x="6426495" y="5606256"/>
                </a:lnTo>
                <a:lnTo>
                  <a:pt x="6431280" y="5618956"/>
                </a:lnTo>
                <a:lnTo>
                  <a:pt x="7199043" y="5618956"/>
                </a:lnTo>
                <a:lnTo>
                  <a:pt x="7191551" y="5606256"/>
                </a:lnTo>
                <a:close/>
              </a:path>
              <a:path w="13852525" h="11308715">
                <a:moveTo>
                  <a:pt x="7013797" y="5301456"/>
                </a:moveTo>
                <a:lnTo>
                  <a:pt x="6248940" y="5301456"/>
                </a:lnTo>
                <a:lnTo>
                  <a:pt x="6424317" y="5606831"/>
                </a:lnTo>
                <a:lnTo>
                  <a:pt x="6426495" y="5606256"/>
                </a:lnTo>
                <a:lnTo>
                  <a:pt x="7191551" y="5606256"/>
                </a:lnTo>
                <a:lnTo>
                  <a:pt x="7094160" y="5441156"/>
                </a:lnTo>
                <a:lnTo>
                  <a:pt x="7709259" y="5441156"/>
                </a:lnTo>
                <a:lnTo>
                  <a:pt x="7675389" y="5314156"/>
                </a:lnTo>
                <a:lnTo>
                  <a:pt x="7017210" y="5314156"/>
                </a:lnTo>
                <a:lnTo>
                  <a:pt x="7013797" y="5301456"/>
                </a:lnTo>
                <a:close/>
              </a:path>
              <a:path w="13852525" h="11308715">
                <a:moveTo>
                  <a:pt x="5966362" y="5149056"/>
                </a:moveTo>
                <a:lnTo>
                  <a:pt x="5127917" y="5314156"/>
                </a:lnTo>
                <a:lnTo>
                  <a:pt x="5431122" y="5606256"/>
                </a:lnTo>
                <a:lnTo>
                  <a:pt x="6269568" y="5441156"/>
                </a:lnTo>
                <a:lnTo>
                  <a:pt x="5966362" y="5149056"/>
                </a:lnTo>
                <a:close/>
              </a:path>
              <a:path w="13852525" h="11308715">
                <a:moveTo>
                  <a:pt x="10824828" y="5301456"/>
                </a:moveTo>
                <a:lnTo>
                  <a:pt x="7013912" y="5301456"/>
                </a:lnTo>
                <a:lnTo>
                  <a:pt x="7017210" y="5314156"/>
                </a:lnTo>
                <a:lnTo>
                  <a:pt x="7675389" y="5314156"/>
                </a:lnTo>
                <a:lnTo>
                  <a:pt x="7851561" y="5428456"/>
                </a:lnTo>
                <a:lnTo>
                  <a:pt x="7807228" y="5593556"/>
                </a:lnTo>
                <a:lnTo>
                  <a:pt x="10831212" y="5593556"/>
                </a:lnTo>
                <a:lnTo>
                  <a:pt x="10824828" y="5301456"/>
                </a:lnTo>
                <a:close/>
              </a:path>
              <a:path w="13852525" h="11308715">
                <a:moveTo>
                  <a:pt x="4160606" y="5060156"/>
                </a:moveTo>
                <a:lnTo>
                  <a:pt x="3208425" y="5428456"/>
                </a:lnTo>
                <a:lnTo>
                  <a:pt x="3453025" y="5568156"/>
                </a:lnTo>
                <a:lnTo>
                  <a:pt x="4405227" y="5187156"/>
                </a:lnTo>
                <a:lnTo>
                  <a:pt x="4160606" y="5060156"/>
                </a:lnTo>
                <a:close/>
              </a:path>
              <a:path w="13852525" h="11308715">
                <a:moveTo>
                  <a:pt x="12906926" y="3688556"/>
                </a:moveTo>
                <a:lnTo>
                  <a:pt x="12296149" y="4056856"/>
                </a:lnTo>
                <a:lnTo>
                  <a:pt x="12157399" y="5479256"/>
                </a:lnTo>
                <a:lnTo>
                  <a:pt x="12768176" y="5098256"/>
                </a:lnTo>
                <a:lnTo>
                  <a:pt x="12906926" y="3688556"/>
                </a:lnTo>
                <a:close/>
              </a:path>
              <a:path w="13852525" h="11308715">
                <a:moveTo>
                  <a:pt x="6925066" y="4971256"/>
                </a:moveTo>
                <a:lnTo>
                  <a:pt x="7017210" y="5314156"/>
                </a:lnTo>
                <a:lnTo>
                  <a:pt x="7013912" y="5301456"/>
                </a:lnTo>
                <a:lnTo>
                  <a:pt x="10824828" y="5301456"/>
                </a:lnTo>
                <a:lnTo>
                  <a:pt x="10823717" y="5250656"/>
                </a:lnTo>
                <a:lnTo>
                  <a:pt x="10448079" y="5250656"/>
                </a:lnTo>
                <a:lnTo>
                  <a:pt x="10425930" y="5174456"/>
                </a:lnTo>
                <a:lnTo>
                  <a:pt x="7634846" y="5174456"/>
                </a:lnTo>
                <a:lnTo>
                  <a:pt x="6925066" y="4971256"/>
                </a:lnTo>
                <a:close/>
              </a:path>
              <a:path w="13852525" h="11308715">
                <a:moveTo>
                  <a:pt x="11205803" y="4082256"/>
                </a:moveTo>
                <a:lnTo>
                  <a:pt x="10455922" y="4082256"/>
                </a:lnTo>
                <a:lnTo>
                  <a:pt x="10682669" y="5098256"/>
                </a:lnTo>
                <a:lnTo>
                  <a:pt x="10448079" y="5250656"/>
                </a:lnTo>
                <a:lnTo>
                  <a:pt x="10823717" y="5250656"/>
                </a:lnTo>
                <a:lnTo>
                  <a:pt x="10822885" y="5212556"/>
                </a:lnTo>
                <a:lnTo>
                  <a:pt x="11137440" y="4882356"/>
                </a:lnTo>
                <a:lnTo>
                  <a:pt x="11840169" y="4882356"/>
                </a:lnTo>
                <a:lnTo>
                  <a:pt x="11848798" y="4679156"/>
                </a:lnTo>
                <a:lnTo>
                  <a:pt x="11327529" y="4679156"/>
                </a:lnTo>
                <a:lnTo>
                  <a:pt x="11335665" y="4666456"/>
                </a:lnTo>
                <a:lnTo>
                  <a:pt x="11205803" y="4082256"/>
                </a:lnTo>
                <a:close/>
              </a:path>
              <a:path w="13852525" h="11308715">
                <a:moveTo>
                  <a:pt x="3575367" y="4729956"/>
                </a:moveTo>
                <a:lnTo>
                  <a:pt x="2545503" y="5085556"/>
                </a:lnTo>
                <a:lnTo>
                  <a:pt x="2721508" y="5174456"/>
                </a:lnTo>
                <a:lnTo>
                  <a:pt x="3751372" y="4818856"/>
                </a:lnTo>
                <a:lnTo>
                  <a:pt x="3575367" y="4729956"/>
                </a:lnTo>
                <a:close/>
              </a:path>
              <a:path w="13852525" h="11308715">
                <a:moveTo>
                  <a:pt x="7635599" y="4831556"/>
                </a:moveTo>
                <a:lnTo>
                  <a:pt x="7636510" y="5174456"/>
                </a:lnTo>
                <a:lnTo>
                  <a:pt x="10425930" y="5174456"/>
                </a:lnTo>
                <a:lnTo>
                  <a:pt x="10381632" y="5022056"/>
                </a:lnTo>
                <a:lnTo>
                  <a:pt x="7958396" y="5022056"/>
                </a:lnTo>
                <a:lnTo>
                  <a:pt x="7635599" y="4831556"/>
                </a:lnTo>
                <a:close/>
              </a:path>
              <a:path w="13852525" h="11308715">
                <a:moveTo>
                  <a:pt x="5880899" y="4704556"/>
                </a:moveTo>
                <a:lnTo>
                  <a:pt x="6089699" y="5047456"/>
                </a:lnTo>
                <a:lnTo>
                  <a:pt x="6911307" y="5098256"/>
                </a:lnTo>
                <a:lnTo>
                  <a:pt x="6702487" y="4742656"/>
                </a:lnTo>
                <a:lnTo>
                  <a:pt x="5880899" y="4704556"/>
                </a:lnTo>
                <a:close/>
              </a:path>
              <a:path w="13852525" h="11308715">
                <a:moveTo>
                  <a:pt x="5506209" y="4679156"/>
                </a:moveTo>
                <a:lnTo>
                  <a:pt x="4598540" y="4818856"/>
                </a:lnTo>
                <a:lnTo>
                  <a:pt x="4847496" y="5060156"/>
                </a:lnTo>
                <a:lnTo>
                  <a:pt x="5755175" y="4920456"/>
                </a:lnTo>
                <a:lnTo>
                  <a:pt x="5506209" y="4679156"/>
                </a:lnTo>
                <a:close/>
              </a:path>
              <a:path w="13852525" h="11308715">
                <a:moveTo>
                  <a:pt x="7623663" y="4145756"/>
                </a:moveTo>
                <a:lnTo>
                  <a:pt x="7625328" y="4539456"/>
                </a:lnTo>
                <a:lnTo>
                  <a:pt x="8015075" y="4806156"/>
                </a:lnTo>
                <a:lnTo>
                  <a:pt x="7958396" y="5022056"/>
                </a:lnTo>
                <a:lnTo>
                  <a:pt x="10381632" y="5022056"/>
                </a:lnTo>
                <a:lnTo>
                  <a:pt x="10267195" y="4628356"/>
                </a:lnTo>
                <a:lnTo>
                  <a:pt x="9859992" y="4628356"/>
                </a:lnTo>
                <a:lnTo>
                  <a:pt x="9760072" y="4463256"/>
                </a:lnTo>
                <a:lnTo>
                  <a:pt x="8084937" y="4463256"/>
                </a:lnTo>
                <a:lnTo>
                  <a:pt x="7623663" y="4145756"/>
                </a:lnTo>
                <a:close/>
              </a:path>
              <a:path w="13852525" h="11308715">
                <a:moveTo>
                  <a:pt x="6733763" y="4310856"/>
                </a:moveTo>
                <a:lnTo>
                  <a:pt x="6839582" y="4691856"/>
                </a:lnTo>
                <a:lnTo>
                  <a:pt x="7590302" y="4945856"/>
                </a:lnTo>
                <a:lnTo>
                  <a:pt x="7484484" y="4564856"/>
                </a:lnTo>
                <a:lnTo>
                  <a:pt x="6733763" y="4310856"/>
                </a:lnTo>
                <a:close/>
              </a:path>
              <a:path w="13852525" h="11308715">
                <a:moveTo>
                  <a:pt x="13851902" y="3078956"/>
                </a:moveTo>
                <a:lnTo>
                  <a:pt x="13451318" y="3332956"/>
                </a:lnTo>
                <a:lnTo>
                  <a:pt x="13229900" y="4844256"/>
                </a:lnTo>
                <a:lnTo>
                  <a:pt x="13729634" y="4526756"/>
                </a:lnTo>
                <a:lnTo>
                  <a:pt x="13851902" y="3688556"/>
                </a:lnTo>
                <a:lnTo>
                  <a:pt x="13851902" y="3078956"/>
                </a:lnTo>
                <a:close/>
              </a:path>
              <a:path w="13852525" h="11308715">
                <a:moveTo>
                  <a:pt x="2990128" y="4387056"/>
                </a:moveTo>
                <a:lnTo>
                  <a:pt x="1882560" y="4742656"/>
                </a:lnTo>
                <a:lnTo>
                  <a:pt x="1989928" y="4793456"/>
                </a:lnTo>
                <a:lnTo>
                  <a:pt x="3097518" y="4437856"/>
                </a:lnTo>
                <a:lnTo>
                  <a:pt x="2990128" y="4387056"/>
                </a:lnTo>
                <a:close/>
              </a:path>
              <a:path w="13852525" h="11308715">
                <a:moveTo>
                  <a:pt x="11862822" y="4348956"/>
                </a:moveTo>
                <a:lnTo>
                  <a:pt x="11327529" y="4679156"/>
                </a:lnTo>
                <a:lnTo>
                  <a:pt x="11848798" y="4679156"/>
                </a:lnTo>
                <a:lnTo>
                  <a:pt x="11862822" y="4348956"/>
                </a:lnTo>
                <a:close/>
              </a:path>
              <a:path w="13852525" h="11308715">
                <a:moveTo>
                  <a:pt x="10419085" y="3472656"/>
                </a:moveTo>
                <a:lnTo>
                  <a:pt x="9559876" y="3472656"/>
                </a:lnTo>
                <a:lnTo>
                  <a:pt x="10057473" y="4412456"/>
                </a:lnTo>
                <a:lnTo>
                  <a:pt x="9859992" y="4628356"/>
                </a:lnTo>
                <a:lnTo>
                  <a:pt x="10267195" y="4628356"/>
                </a:lnTo>
                <a:lnTo>
                  <a:pt x="10226589" y="4488656"/>
                </a:lnTo>
                <a:lnTo>
                  <a:pt x="10455922" y="4082256"/>
                </a:lnTo>
                <a:lnTo>
                  <a:pt x="11205803" y="4082256"/>
                </a:lnTo>
                <a:lnTo>
                  <a:pt x="11149342" y="3828256"/>
                </a:lnTo>
                <a:lnTo>
                  <a:pt x="10594494" y="3828256"/>
                </a:lnTo>
                <a:lnTo>
                  <a:pt x="10600441" y="3815556"/>
                </a:lnTo>
                <a:lnTo>
                  <a:pt x="10419085" y="3472656"/>
                </a:lnTo>
                <a:close/>
              </a:path>
              <a:path w="13852525" h="11308715">
                <a:moveTo>
                  <a:pt x="5046076" y="4209256"/>
                </a:moveTo>
                <a:lnTo>
                  <a:pt x="4069174" y="4323556"/>
                </a:lnTo>
                <a:lnTo>
                  <a:pt x="4263849" y="4501356"/>
                </a:lnTo>
                <a:lnTo>
                  <a:pt x="5240793" y="4399756"/>
                </a:lnTo>
                <a:lnTo>
                  <a:pt x="5046076" y="4209256"/>
                </a:lnTo>
                <a:close/>
              </a:path>
              <a:path w="13852525" h="11308715">
                <a:moveTo>
                  <a:pt x="5512868" y="4094956"/>
                </a:moveTo>
                <a:lnTo>
                  <a:pt x="5684591" y="4387056"/>
                </a:lnTo>
                <a:lnTo>
                  <a:pt x="6562805" y="4475956"/>
                </a:lnTo>
                <a:lnTo>
                  <a:pt x="6391082" y="4196556"/>
                </a:lnTo>
                <a:lnTo>
                  <a:pt x="5512868" y="4094956"/>
                </a:lnTo>
                <a:close/>
              </a:path>
              <a:path w="13852525" h="11308715">
                <a:moveTo>
                  <a:pt x="7611736" y="3472656"/>
                </a:moveTo>
                <a:lnTo>
                  <a:pt x="7613820" y="3790156"/>
                </a:lnTo>
                <a:lnTo>
                  <a:pt x="8154243" y="4209256"/>
                </a:lnTo>
                <a:lnTo>
                  <a:pt x="8084937" y="4463256"/>
                </a:lnTo>
                <a:lnTo>
                  <a:pt x="9760072" y="4463256"/>
                </a:lnTo>
                <a:lnTo>
                  <a:pt x="9583289" y="4171156"/>
                </a:lnTo>
                <a:lnTo>
                  <a:pt x="9105377" y="4171156"/>
                </a:lnTo>
                <a:lnTo>
                  <a:pt x="8844315" y="3929856"/>
                </a:lnTo>
                <a:lnTo>
                  <a:pt x="8225341" y="3929856"/>
                </a:lnTo>
                <a:lnTo>
                  <a:pt x="7611736" y="3472656"/>
                </a:lnTo>
                <a:close/>
              </a:path>
              <a:path w="13852525" h="11308715">
                <a:moveTo>
                  <a:pt x="2404879" y="4056856"/>
                </a:moveTo>
                <a:lnTo>
                  <a:pt x="1219606" y="4387056"/>
                </a:lnTo>
                <a:lnTo>
                  <a:pt x="1258380" y="4412456"/>
                </a:lnTo>
                <a:lnTo>
                  <a:pt x="2443632" y="4069556"/>
                </a:lnTo>
                <a:lnTo>
                  <a:pt x="2404879" y="4056856"/>
                </a:lnTo>
                <a:close/>
              </a:path>
              <a:path w="13852525" h="11308715">
                <a:moveTo>
                  <a:pt x="11917783" y="2418556"/>
                </a:moveTo>
                <a:lnTo>
                  <a:pt x="11404218" y="2964656"/>
                </a:lnTo>
                <a:lnTo>
                  <a:pt x="11638347" y="4387056"/>
                </a:lnTo>
                <a:lnTo>
                  <a:pt x="12151912" y="3853656"/>
                </a:lnTo>
                <a:lnTo>
                  <a:pt x="11917783" y="2418556"/>
                </a:lnTo>
                <a:close/>
              </a:path>
              <a:path w="13852525" h="11308715">
                <a:moveTo>
                  <a:pt x="6542429" y="3637756"/>
                </a:moveTo>
                <a:lnTo>
                  <a:pt x="6629840" y="3955256"/>
                </a:lnTo>
                <a:lnTo>
                  <a:pt x="7421512" y="4272756"/>
                </a:lnTo>
                <a:lnTo>
                  <a:pt x="7334111" y="3955256"/>
                </a:lnTo>
                <a:lnTo>
                  <a:pt x="6542429" y="3637756"/>
                </a:lnTo>
                <a:close/>
              </a:path>
              <a:path w="13852525" h="11308715">
                <a:moveTo>
                  <a:pt x="8675913" y="2151856"/>
                </a:moveTo>
                <a:lnTo>
                  <a:pt x="8439135" y="3053556"/>
                </a:lnTo>
                <a:lnTo>
                  <a:pt x="9249467" y="3917156"/>
                </a:lnTo>
                <a:lnTo>
                  <a:pt x="9105377" y="4171156"/>
                </a:lnTo>
                <a:lnTo>
                  <a:pt x="9583289" y="4171156"/>
                </a:lnTo>
                <a:lnTo>
                  <a:pt x="9437251" y="3929856"/>
                </a:lnTo>
                <a:lnTo>
                  <a:pt x="9559876" y="3472656"/>
                </a:lnTo>
                <a:lnTo>
                  <a:pt x="10419085" y="3472656"/>
                </a:lnTo>
                <a:lnTo>
                  <a:pt x="10271313" y="3193256"/>
                </a:lnTo>
                <a:lnTo>
                  <a:pt x="9633989" y="3193256"/>
                </a:lnTo>
                <a:lnTo>
                  <a:pt x="9637151" y="3180556"/>
                </a:lnTo>
                <a:lnTo>
                  <a:pt x="8675913" y="2151856"/>
                </a:lnTo>
                <a:close/>
              </a:path>
              <a:path w="13852525" h="11308715">
                <a:moveTo>
                  <a:pt x="4585933" y="3739356"/>
                </a:moveTo>
                <a:lnTo>
                  <a:pt x="3539797" y="3828256"/>
                </a:lnTo>
                <a:lnTo>
                  <a:pt x="3680254" y="3955256"/>
                </a:lnTo>
                <a:lnTo>
                  <a:pt x="4726390" y="3879056"/>
                </a:lnTo>
                <a:lnTo>
                  <a:pt x="4585933" y="3739356"/>
                </a:lnTo>
                <a:close/>
              </a:path>
              <a:path w="13852525" h="11308715">
                <a:moveTo>
                  <a:pt x="8349672" y="3472656"/>
                </a:moveTo>
                <a:lnTo>
                  <a:pt x="8225341" y="3929856"/>
                </a:lnTo>
                <a:lnTo>
                  <a:pt x="8844315" y="3929856"/>
                </a:lnTo>
                <a:lnTo>
                  <a:pt x="8349672" y="3472656"/>
                </a:lnTo>
                <a:close/>
              </a:path>
              <a:path w="13852525" h="11308715">
                <a:moveTo>
                  <a:pt x="5144827" y="3485356"/>
                </a:moveTo>
                <a:lnTo>
                  <a:pt x="5279462" y="3713956"/>
                </a:lnTo>
                <a:lnTo>
                  <a:pt x="6214302" y="3853656"/>
                </a:lnTo>
                <a:lnTo>
                  <a:pt x="6079668" y="3637756"/>
                </a:lnTo>
                <a:lnTo>
                  <a:pt x="5144827" y="3485356"/>
                </a:lnTo>
                <a:close/>
              </a:path>
              <a:path w="13852525" h="11308715">
                <a:moveTo>
                  <a:pt x="11044888" y="3358356"/>
                </a:moveTo>
                <a:lnTo>
                  <a:pt x="10594494" y="3828256"/>
                </a:lnTo>
                <a:lnTo>
                  <a:pt x="11149342" y="3828256"/>
                </a:lnTo>
                <a:lnTo>
                  <a:pt x="11044888" y="3358356"/>
                </a:lnTo>
                <a:close/>
              </a:path>
              <a:path w="13852525" h="11308715">
                <a:moveTo>
                  <a:pt x="7599810" y="2786856"/>
                </a:moveTo>
                <a:lnTo>
                  <a:pt x="7602313" y="3040856"/>
                </a:lnTo>
                <a:lnTo>
                  <a:pt x="8282857" y="3612356"/>
                </a:lnTo>
                <a:lnTo>
                  <a:pt x="8280355" y="3358356"/>
                </a:lnTo>
                <a:lnTo>
                  <a:pt x="7599810" y="2786856"/>
                </a:lnTo>
                <a:close/>
              </a:path>
              <a:path w="13852525" h="11308715">
                <a:moveTo>
                  <a:pt x="6351115" y="2977356"/>
                </a:moveTo>
                <a:lnTo>
                  <a:pt x="6420118" y="3218656"/>
                </a:lnTo>
                <a:lnTo>
                  <a:pt x="7252732" y="3599656"/>
                </a:lnTo>
                <a:lnTo>
                  <a:pt x="7183739" y="3345656"/>
                </a:lnTo>
                <a:lnTo>
                  <a:pt x="6351115" y="2977356"/>
                </a:lnTo>
                <a:close/>
              </a:path>
              <a:path w="13852525" h="11308715">
                <a:moveTo>
                  <a:pt x="12790678" y="1491456"/>
                </a:moveTo>
                <a:lnTo>
                  <a:pt x="12370890" y="1923256"/>
                </a:lnTo>
                <a:lnTo>
                  <a:pt x="12548382" y="3472656"/>
                </a:lnTo>
                <a:lnTo>
                  <a:pt x="12968181" y="3040856"/>
                </a:lnTo>
                <a:lnTo>
                  <a:pt x="12790678" y="1491456"/>
                </a:lnTo>
                <a:close/>
              </a:path>
              <a:path w="13852525" h="11308715">
                <a:moveTo>
                  <a:pt x="10591646" y="1453356"/>
                </a:moveTo>
                <a:lnTo>
                  <a:pt x="10217657" y="2113756"/>
                </a:lnTo>
                <a:lnTo>
                  <a:pt x="10830727" y="3459956"/>
                </a:lnTo>
                <a:lnTo>
                  <a:pt x="11204716" y="2799556"/>
                </a:lnTo>
                <a:lnTo>
                  <a:pt x="10591646" y="1453356"/>
                </a:lnTo>
                <a:close/>
              </a:path>
              <a:path w="13852525" h="11308715">
                <a:moveTo>
                  <a:pt x="4125801" y="3282156"/>
                </a:moveTo>
                <a:lnTo>
                  <a:pt x="3010421" y="3332956"/>
                </a:lnTo>
                <a:lnTo>
                  <a:pt x="3096628" y="3409156"/>
                </a:lnTo>
                <a:lnTo>
                  <a:pt x="4212018" y="3358356"/>
                </a:lnTo>
                <a:lnTo>
                  <a:pt x="4125801" y="3282156"/>
                </a:lnTo>
                <a:close/>
              </a:path>
              <a:path w="13852525" h="11308715">
                <a:moveTo>
                  <a:pt x="4776796" y="2888456"/>
                </a:moveTo>
                <a:lnTo>
                  <a:pt x="4874343" y="3040856"/>
                </a:lnTo>
                <a:lnTo>
                  <a:pt x="5865810" y="3231356"/>
                </a:lnTo>
                <a:lnTo>
                  <a:pt x="5768264" y="3078956"/>
                </a:lnTo>
                <a:lnTo>
                  <a:pt x="4776796" y="2888456"/>
                </a:lnTo>
                <a:close/>
              </a:path>
              <a:path w="13852525" h="11308715">
                <a:moveTo>
                  <a:pt x="9962335" y="2609056"/>
                </a:moveTo>
                <a:lnTo>
                  <a:pt x="9633989" y="3193256"/>
                </a:lnTo>
                <a:lnTo>
                  <a:pt x="10271313" y="3193256"/>
                </a:lnTo>
                <a:lnTo>
                  <a:pt x="9962335" y="2609056"/>
                </a:lnTo>
                <a:close/>
              </a:path>
              <a:path w="13852525" h="11308715">
                <a:moveTo>
                  <a:pt x="7587884" y="2113756"/>
                </a:moveTo>
                <a:lnTo>
                  <a:pt x="7590805" y="2291556"/>
                </a:lnTo>
                <a:lnTo>
                  <a:pt x="8294784" y="2926556"/>
                </a:lnTo>
                <a:lnTo>
                  <a:pt x="8291862" y="2736056"/>
                </a:lnTo>
                <a:lnTo>
                  <a:pt x="7587884" y="2113756"/>
                </a:lnTo>
                <a:close/>
              </a:path>
              <a:path w="13852525" h="11308715">
                <a:moveTo>
                  <a:pt x="6159801" y="2304256"/>
                </a:moveTo>
                <a:lnTo>
                  <a:pt x="6210376" y="2482056"/>
                </a:lnTo>
                <a:lnTo>
                  <a:pt x="7083951" y="2913856"/>
                </a:lnTo>
                <a:lnTo>
                  <a:pt x="7033366" y="2736056"/>
                </a:lnTo>
                <a:lnTo>
                  <a:pt x="6159801" y="2304256"/>
                </a:lnTo>
                <a:close/>
              </a:path>
              <a:path w="13852525" h="11308715">
                <a:moveTo>
                  <a:pt x="3665658" y="2812256"/>
                </a:moveTo>
                <a:lnTo>
                  <a:pt x="2481055" y="2837656"/>
                </a:lnTo>
                <a:lnTo>
                  <a:pt x="2512981" y="2863056"/>
                </a:lnTo>
                <a:lnTo>
                  <a:pt x="3697615" y="2837656"/>
                </a:lnTo>
                <a:lnTo>
                  <a:pt x="3665658" y="2812256"/>
                </a:lnTo>
                <a:close/>
              </a:path>
              <a:path w="13852525" h="11308715">
                <a:moveTo>
                  <a:pt x="9002134" y="843756"/>
                </a:moveTo>
                <a:lnTo>
                  <a:pt x="8802779" y="1605756"/>
                </a:lnTo>
                <a:lnTo>
                  <a:pt x="9774309" y="2761456"/>
                </a:lnTo>
                <a:lnTo>
                  <a:pt x="9973675" y="2012156"/>
                </a:lnTo>
                <a:lnTo>
                  <a:pt x="9002134" y="843756"/>
                </a:lnTo>
                <a:close/>
              </a:path>
              <a:path w="13852525" h="11308715">
                <a:moveTo>
                  <a:pt x="4408755" y="2278856"/>
                </a:moveTo>
                <a:lnTo>
                  <a:pt x="4469235" y="2380456"/>
                </a:lnTo>
                <a:lnTo>
                  <a:pt x="5517318" y="2609056"/>
                </a:lnTo>
                <a:lnTo>
                  <a:pt x="5456849" y="2520156"/>
                </a:lnTo>
                <a:lnTo>
                  <a:pt x="4408755" y="2278856"/>
                </a:lnTo>
                <a:close/>
              </a:path>
              <a:path w="13852525" h="11308715">
                <a:moveTo>
                  <a:pt x="11220946" y="284956"/>
                </a:moveTo>
                <a:lnTo>
                  <a:pt x="10915740" y="843756"/>
                </a:lnTo>
                <a:lnTo>
                  <a:pt x="11503785" y="2316956"/>
                </a:lnTo>
                <a:lnTo>
                  <a:pt x="11808991" y="1770856"/>
                </a:lnTo>
                <a:lnTo>
                  <a:pt x="11220946" y="284956"/>
                </a:lnTo>
                <a:close/>
              </a:path>
              <a:path w="13852525" h="11308715">
                <a:moveTo>
                  <a:pt x="5968477" y="1643856"/>
                </a:moveTo>
                <a:lnTo>
                  <a:pt x="6000644" y="1745456"/>
                </a:lnTo>
                <a:lnTo>
                  <a:pt x="6915171" y="2240756"/>
                </a:lnTo>
                <a:lnTo>
                  <a:pt x="6883015" y="2126456"/>
                </a:lnTo>
                <a:lnTo>
                  <a:pt x="5968477" y="1643856"/>
                </a:lnTo>
                <a:close/>
              </a:path>
              <a:path w="13852525" h="11308715">
                <a:moveTo>
                  <a:pt x="7575968" y="1427956"/>
                </a:moveTo>
                <a:lnTo>
                  <a:pt x="7579298" y="1542256"/>
                </a:lnTo>
                <a:lnTo>
                  <a:pt x="8306699" y="2240756"/>
                </a:lnTo>
                <a:lnTo>
                  <a:pt x="8303370" y="2126456"/>
                </a:lnTo>
                <a:lnTo>
                  <a:pt x="7575968" y="1427956"/>
                </a:lnTo>
                <a:close/>
              </a:path>
              <a:path w="13852525" h="11308715">
                <a:moveTo>
                  <a:pt x="4040735" y="1669256"/>
                </a:moveTo>
                <a:lnTo>
                  <a:pt x="4064096" y="1707356"/>
                </a:lnTo>
                <a:lnTo>
                  <a:pt x="5168826" y="1986756"/>
                </a:lnTo>
                <a:lnTo>
                  <a:pt x="5145445" y="1961356"/>
                </a:lnTo>
                <a:lnTo>
                  <a:pt x="4040735" y="1669256"/>
                </a:lnTo>
                <a:close/>
              </a:path>
              <a:path w="13852525" h="11308715">
                <a:moveTo>
                  <a:pt x="5777164" y="970756"/>
                </a:moveTo>
                <a:lnTo>
                  <a:pt x="5790923" y="1008856"/>
                </a:lnTo>
                <a:lnTo>
                  <a:pt x="6746391" y="1554956"/>
                </a:lnTo>
                <a:lnTo>
                  <a:pt x="6732643" y="1529556"/>
                </a:lnTo>
                <a:lnTo>
                  <a:pt x="5777164" y="970756"/>
                </a:lnTo>
                <a:close/>
              </a:path>
              <a:path w="13852525" h="11308715">
                <a:moveTo>
                  <a:pt x="7564041" y="754856"/>
                </a:moveTo>
                <a:lnTo>
                  <a:pt x="7567790" y="792956"/>
                </a:lnTo>
                <a:lnTo>
                  <a:pt x="8318636" y="1554956"/>
                </a:lnTo>
                <a:lnTo>
                  <a:pt x="8314888" y="1516856"/>
                </a:lnTo>
                <a:lnTo>
                  <a:pt x="7564041" y="754856"/>
                </a:lnTo>
                <a:close/>
              </a:path>
              <a:path w="13852525" h="11308715">
                <a:moveTo>
                  <a:pt x="9684684" y="5556"/>
                </a:moveTo>
                <a:lnTo>
                  <a:pt x="9205378" y="5556"/>
                </a:lnTo>
                <a:lnTo>
                  <a:pt x="9166401" y="157956"/>
                </a:lnTo>
                <a:lnTo>
                  <a:pt x="10148214" y="1453356"/>
                </a:lnTo>
                <a:lnTo>
                  <a:pt x="10310167" y="831056"/>
                </a:lnTo>
                <a:lnTo>
                  <a:pt x="9684684" y="5556"/>
                </a:lnTo>
                <a:close/>
              </a:path>
              <a:path w="13852525" h="11308715">
                <a:moveTo>
                  <a:pt x="12155392" y="5556"/>
                </a:moveTo>
                <a:lnTo>
                  <a:pt x="11769899" y="5556"/>
                </a:lnTo>
                <a:lnTo>
                  <a:pt x="12176843" y="1173956"/>
                </a:lnTo>
                <a:lnTo>
                  <a:pt x="12413266" y="742156"/>
                </a:lnTo>
                <a:lnTo>
                  <a:pt x="12155392" y="5556"/>
                </a:lnTo>
                <a:close/>
              </a:path>
              <a:path w="13852525" h="11308715">
                <a:moveTo>
                  <a:pt x="10558529" y="5556"/>
                </a:moveTo>
                <a:lnTo>
                  <a:pt x="10424416" y="5556"/>
                </a:lnTo>
                <a:lnTo>
                  <a:pt x="10522108" y="145256"/>
                </a:lnTo>
                <a:lnTo>
                  <a:pt x="10558529" y="5556"/>
                </a:lnTo>
                <a:close/>
              </a:path>
            </a:pathLst>
          </a:custGeom>
          <a:solidFill>
            <a:srgbClr val="1A0F5C">
              <a:alpha val="5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FDD0999-C447-FB95-885F-11AEB8E057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908" y="1714110"/>
            <a:ext cx="1840546" cy="610478"/>
          </a:xfrm>
          <a:prstGeom prst="rect">
            <a:avLst/>
          </a:prstGeom>
        </p:spPr>
      </p:pic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07546131-B7BB-A430-1C56-5655E9755F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411629" y="5850238"/>
            <a:ext cx="2396464" cy="63286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C8727FE-405D-4A27-55AD-4A118BF61623}"/>
              </a:ext>
            </a:extLst>
          </p:cNvPr>
          <p:cNvSpPr txBox="1"/>
          <p:nvPr userDrawn="1"/>
        </p:nvSpPr>
        <p:spPr>
          <a:xfrm>
            <a:off x="383907" y="6267664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mangroup.com</a:t>
            </a:r>
            <a:endParaRPr lang="en-GB" sz="800" spc="55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8058ADA7-0FE6-4E57-9CFB-69F55800D8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3908" y="4082988"/>
            <a:ext cx="3519877" cy="3385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56C104B4-4888-45A4-89E8-FB11A9327527}" type="datetime3">
              <a:rPr lang="en-US" smtClean="0"/>
              <a:t>23 September 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8666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89DB572-1BEA-F6CE-5AA8-E2980CD41F2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38A748E-34A1-4E46-B7C8-B3C068148C2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1000" y="1749425"/>
            <a:ext cx="11430000" cy="457200"/>
          </a:xfrm>
          <a:custGeom>
            <a:avLst/>
            <a:gdLst>
              <a:gd name="connsiteX0" fmla="*/ 114300 w 11430000"/>
              <a:gd name="connsiteY0" fmla="*/ 0 h 457200"/>
              <a:gd name="connsiteX1" fmla="*/ 11430000 w 11430000"/>
              <a:gd name="connsiteY1" fmla="*/ 0 h 457200"/>
              <a:gd name="connsiteX2" fmla="*/ 11315700 w 11430000"/>
              <a:gd name="connsiteY2" fmla="*/ 457200 h 457200"/>
              <a:gd name="connsiteX3" fmla="*/ 0 w 11430000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57200">
                <a:moveTo>
                  <a:pt x="114300" y="0"/>
                </a:moveTo>
                <a:lnTo>
                  <a:pt x="11430000" y="0"/>
                </a:lnTo>
                <a:lnTo>
                  <a:pt x="11315700" y="4572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C5B72B-3232-8BD1-A8F9-6A31A5F194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AA837C17-AB25-405F-9D1A-88B85BADF0C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81000" y="2305879"/>
            <a:ext cx="11430000" cy="385362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 baseline="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730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art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89DB572-1BEA-F6CE-5AA8-E2980CD41F2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01FA3BE7-440C-4567-9737-E766215F790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1000" y="1749425"/>
            <a:ext cx="11430000" cy="457200"/>
          </a:xfrm>
          <a:custGeom>
            <a:avLst/>
            <a:gdLst>
              <a:gd name="connsiteX0" fmla="*/ 114300 w 11430000"/>
              <a:gd name="connsiteY0" fmla="*/ 0 h 457200"/>
              <a:gd name="connsiteX1" fmla="*/ 11430000 w 11430000"/>
              <a:gd name="connsiteY1" fmla="*/ 0 h 457200"/>
              <a:gd name="connsiteX2" fmla="*/ 11315700 w 11430000"/>
              <a:gd name="connsiteY2" fmla="*/ 457200 h 457200"/>
              <a:gd name="connsiteX3" fmla="*/ 0 w 11430000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57200">
                <a:moveTo>
                  <a:pt x="114300" y="0"/>
                </a:moveTo>
                <a:lnTo>
                  <a:pt x="11430000" y="0"/>
                </a:lnTo>
                <a:lnTo>
                  <a:pt x="11315700" y="4572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2D29DC9E-0F32-4CC5-8A57-6F047FD124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000" y="2402155"/>
            <a:ext cx="482400" cy="482600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B116856-F0BC-4944-B5E5-80DAC5BCAD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" y="2414855"/>
            <a:ext cx="2943754" cy="457200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7D99B4F2-3364-424A-8BD7-EEE0BE410B15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338372" y="2402155"/>
            <a:ext cx="482400" cy="482600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  <a:endParaRPr lang="en-GB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3EF1D9E-C3FA-40B4-BE61-216DACCD3DE3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909872" y="2414855"/>
            <a:ext cx="2943754" cy="457200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6CD580D2-ACCF-451D-AABB-8DF1E53D3B73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8295746" y="2402155"/>
            <a:ext cx="482400" cy="482600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  <a:endParaRPr lang="en-GB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C072118-4B94-45EC-AA92-8B824DFF3B6E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8867246" y="2414855"/>
            <a:ext cx="2943754" cy="457200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8B05212D-AC3C-4B83-8E54-95BFED51015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81000" y="4482204"/>
            <a:ext cx="11430000" cy="457200"/>
          </a:xfrm>
          <a:custGeom>
            <a:avLst/>
            <a:gdLst>
              <a:gd name="connsiteX0" fmla="*/ 114300 w 11430000"/>
              <a:gd name="connsiteY0" fmla="*/ 0 h 457200"/>
              <a:gd name="connsiteX1" fmla="*/ 11430000 w 11430000"/>
              <a:gd name="connsiteY1" fmla="*/ 0 h 457200"/>
              <a:gd name="connsiteX2" fmla="*/ 11315700 w 11430000"/>
              <a:gd name="connsiteY2" fmla="*/ 457200 h 457200"/>
              <a:gd name="connsiteX3" fmla="*/ 0 w 11430000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57200">
                <a:moveTo>
                  <a:pt x="114300" y="0"/>
                </a:moveTo>
                <a:lnTo>
                  <a:pt x="11430000" y="0"/>
                </a:lnTo>
                <a:lnTo>
                  <a:pt x="11315700" y="4572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04537093-CB2A-43BF-B751-47818D589D4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11956" y="5316638"/>
            <a:ext cx="3484298" cy="838581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bg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6" name="Text Placeholder 33">
            <a:extLst>
              <a:ext uri="{FF2B5EF4-FFF2-40B4-BE49-F238E27FC236}">
                <a16:creationId xmlns:a16="http://schemas.microsoft.com/office/drawing/2014/main" id="{3C16867A-C60E-43B4-B09F-F311F28C58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1000" y="5075338"/>
            <a:ext cx="482400" cy="482600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  <a:endParaRPr lang="en-GB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BEFEFEF0-23A5-4EE1-BC9C-F15C3234DCF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69328" y="5316638"/>
            <a:ext cx="3484298" cy="838581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bg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2" name="Text Placeholder 33">
            <a:extLst>
              <a:ext uri="{FF2B5EF4-FFF2-40B4-BE49-F238E27FC236}">
                <a16:creationId xmlns:a16="http://schemas.microsoft.com/office/drawing/2014/main" id="{DAB87D3B-8786-44FE-8911-3CC5038032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38372" y="5075338"/>
            <a:ext cx="482400" cy="482600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  <a:endParaRPr lang="en-GB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2CBD6C4B-7454-4CAA-94A2-346564DBAD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326700" y="5316638"/>
            <a:ext cx="3484298" cy="838581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bg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95F6ACA5-F54D-4926-B176-77EB495C3C9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95744" y="5075338"/>
            <a:ext cx="482400" cy="482600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786C44-7D06-8B20-4C66-3CD8542D4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BB48EF12-FABA-4764-BFE6-5D5C961B2D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5400000" flipH="1">
            <a:off x="3834606" y="3562070"/>
            <a:ext cx="565416" cy="146344"/>
          </a:xfrm>
          <a:prstGeom prst="triangle">
            <a:avLst/>
          </a:prstGeom>
          <a:solidFill>
            <a:srgbClr val="FFDFEA"/>
          </a:solidFill>
        </p:spPr>
        <p:txBody>
          <a:bodyPr anchor="ctr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1" name="Text Placeholder 33">
            <a:extLst>
              <a:ext uri="{FF2B5EF4-FFF2-40B4-BE49-F238E27FC236}">
                <a16:creationId xmlns:a16="http://schemas.microsoft.com/office/drawing/2014/main" id="{29DA67F7-9E06-49BD-A8F7-907C889C510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 rot="5400000" flipH="1">
            <a:off x="7791978" y="3562070"/>
            <a:ext cx="565416" cy="146344"/>
          </a:xfrm>
          <a:prstGeom prst="triangle">
            <a:avLst/>
          </a:prstGeom>
          <a:solidFill>
            <a:srgbClr val="FFDFEA"/>
          </a:solidFill>
        </p:spPr>
        <p:txBody>
          <a:bodyPr anchor="ctr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68446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cont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C784EB7-0D22-4F5B-5100-1CBED4089E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0C0A51-525B-B866-2342-C7CBBC887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749425"/>
            <a:ext cx="3429809" cy="441007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A8D3A63-E32D-AC27-6C75-32269B5E6D88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957819" y="1749425"/>
            <a:ext cx="7853181" cy="441007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B3D49C-A884-FC35-712A-3A7F137AB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54874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art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21D9686-D61C-E3FA-D9D1-21E3EC958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770FB51-6B1D-43B0-AAAF-B8BCEABF36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00" y="1749425"/>
            <a:ext cx="2880000" cy="504000"/>
          </a:xfrm>
          <a:prstGeom prst="chevron">
            <a:avLst>
              <a:gd name="adj" fmla="val 26962"/>
            </a:avLst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i="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2DA3F1F-56DE-4787-86A2-2B94AD7C77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31000" y="1749425"/>
            <a:ext cx="2880000" cy="504000"/>
          </a:xfrm>
          <a:prstGeom prst="chevron">
            <a:avLst>
              <a:gd name="adj" fmla="val 26962"/>
            </a:avLst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i="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271F74A-8499-4B2F-8285-329F39903DF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81000" y="1749425"/>
            <a:ext cx="2880000" cy="504000"/>
          </a:xfrm>
          <a:prstGeom prst="chevron">
            <a:avLst>
              <a:gd name="adj" fmla="val 26962"/>
            </a:avLst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i="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0E2F756F-AF03-4556-9289-CDB256A9295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31000" y="1749425"/>
            <a:ext cx="2880000" cy="504000"/>
          </a:xfrm>
          <a:prstGeom prst="chevron">
            <a:avLst>
              <a:gd name="adj" fmla="val 26962"/>
            </a:avLst>
          </a:prstGeom>
          <a:solidFill>
            <a:schemeClr val="accent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i="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0447A8-4907-468D-99F0-24075958AA7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1000" y="2417977"/>
            <a:ext cx="2740293" cy="3741523"/>
          </a:xfrm>
        </p:spPr>
        <p:txBody>
          <a:bodyPr>
            <a:noAutofit/>
          </a:bodyPr>
          <a:lstStyle>
            <a:lvl1pPr marL="228600">
              <a:defRPr sz="1200" baseline="0"/>
            </a:lvl1pPr>
            <a:lvl2pPr marL="457200">
              <a:defRPr sz="1200" baseline="0"/>
            </a:lvl2pPr>
            <a:lvl3pPr marL="685800">
              <a:defRPr sz="1200" baseline="0"/>
            </a:lvl3pPr>
            <a:lvl4pPr marL="914400">
              <a:defRPr sz="1200" baseline="0"/>
            </a:lvl4pPr>
            <a:lvl5pPr marL="1143000"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4FD5B61-4970-4EDF-A8D3-1142E965C9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31000" y="2417977"/>
            <a:ext cx="2740293" cy="3741523"/>
          </a:xfrm>
        </p:spPr>
        <p:txBody>
          <a:bodyPr>
            <a:noAutofit/>
          </a:bodyPr>
          <a:lstStyle>
            <a:lvl1pPr marL="228600">
              <a:defRPr sz="1200" baseline="0"/>
            </a:lvl1pPr>
            <a:lvl2pPr marL="457200">
              <a:defRPr sz="1200" baseline="0"/>
            </a:lvl2pPr>
            <a:lvl3pPr marL="685800">
              <a:defRPr sz="1200" baseline="0"/>
            </a:lvl3pPr>
            <a:lvl4pPr marL="914400">
              <a:defRPr sz="1200" baseline="0"/>
            </a:lvl4pPr>
            <a:lvl5pPr marL="1143000"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73517E32-367A-4F58-B9B2-4BBA9810B22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81000" y="2417977"/>
            <a:ext cx="2740293" cy="3741523"/>
          </a:xfrm>
        </p:spPr>
        <p:txBody>
          <a:bodyPr>
            <a:noAutofit/>
          </a:bodyPr>
          <a:lstStyle>
            <a:lvl1pPr marL="228600">
              <a:defRPr sz="1200" baseline="0"/>
            </a:lvl1pPr>
            <a:lvl2pPr marL="457200">
              <a:defRPr sz="1200" baseline="0"/>
            </a:lvl2pPr>
            <a:lvl3pPr marL="685800">
              <a:defRPr sz="1200" baseline="0"/>
            </a:lvl3pPr>
            <a:lvl4pPr marL="914400">
              <a:defRPr sz="1200" baseline="0"/>
            </a:lvl4pPr>
            <a:lvl5pPr marL="1143000"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27CFCDD1-7300-49D4-B6A4-17076059AC6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31000" y="2417977"/>
            <a:ext cx="2740293" cy="3741523"/>
          </a:xfrm>
        </p:spPr>
        <p:txBody>
          <a:bodyPr>
            <a:noAutofit/>
          </a:bodyPr>
          <a:lstStyle>
            <a:lvl1pPr marL="228600">
              <a:defRPr sz="1200" baseline="0"/>
            </a:lvl1pPr>
            <a:lvl2pPr marL="457200">
              <a:defRPr sz="1200" baseline="0"/>
            </a:lvl2pPr>
            <a:lvl3pPr marL="685800">
              <a:defRPr sz="1200" baseline="0"/>
            </a:lvl3pPr>
            <a:lvl4pPr marL="914400">
              <a:defRPr sz="1200" baseline="0"/>
            </a:lvl4pPr>
            <a:lvl5pPr marL="1143000"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A2933A-2DB0-ED61-A572-3A59CD197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583713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ty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21D9686-D61C-E3FA-D9D1-21E3EC958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770FB51-6B1D-43B0-AAAF-B8BCEABF36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00" y="1749425"/>
            <a:ext cx="2880000" cy="504000"/>
          </a:xfrm>
          <a:prstGeom prst="parallelogram">
            <a:avLst/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 i="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ED6BD6F-3D42-44DD-B3DF-271B085640E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1000" y="2350632"/>
            <a:ext cx="2743200" cy="806407"/>
          </a:xfrm>
        </p:spPr>
        <p:txBody>
          <a:bodyPr anchor="ctr">
            <a:noAutofit/>
          </a:bodyPr>
          <a:lstStyle>
            <a:lvl1pPr>
              <a:defRPr lang="en-GB" sz="1200" b="1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AE43DB4-051C-4304-9631-9084EA035E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210262" y="2350632"/>
            <a:ext cx="8472803" cy="806407"/>
          </a:xfrm>
        </p:spPr>
        <p:txBody>
          <a:bodyPr anchor="ctr">
            <a:noAutofit/>
          </a:bodyPr>
          <a:lstStyle>
            <a:lvl1pPr marL="228600" indent="-228600">
              <a:defRPr lang="en-GB" sz="1200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28600" indent="-228600">
              <a:defRPr/>
            </a:lvl2pPr>
            <a:lvl3pPr marL="228600" indent="-228600">
              <a:defRPr/>
            </a:lvl3pPr>
            <a:lvl4pPr marL="228600" indent="-228600">
              <a:defRPr/>
            </a:lvl4pPr>
            <a:lvl5pPr marL="228600" indent="-228600"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90544517-A048-40DF-932A-B75E18619A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0" y="3351453"/>
            <a:ext cx="2743200" cy="806407"/>
          </a:xfrm>
        </p:spPr>
        <p:txBody>
          <a:bodyPr anchor="ctr">
            <a:noAutofit/>
          </a:bodyPr>
          <a:lstStyle>
            <a:lvl1pPr>
              <a:defRPr lang="en-GB" sz="1200" b="1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9347B8D2-A3BC-46D3-B7D9-A5AB1CA5E6F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210262" y="3351453"/>
            <a:ext cx="8472803" cy="806407"/>
          </a:xfrm>
        </p:spPr>
        <p:txBody>
          <a:bodyPr anchor="ctr">
            <a:noAutofit/>
          </a:bodyPr>
          <a:lstStyle>
            <a:lvl1pPr marL="228600" indent="-228600">
              <a:defRPr lang="en-GB" sz="1200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28600" indent="-228600">
              <a:defRPr/>
            </a:lvl2pPr>
            <a:lvl3pPr marL="228600" indent="-228600">
              <a:defRPr/>
            </a:lvl3pPr>
            <a:lvl4pPr marL="228600" indent="-228600">
              <a:defRPr/>
            </a:lvl4pPr>
            <a:lvl5pPr marL="228600" indent="-228600"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C0B73FD-94B8-46D0-A27E-A927E824AF7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1000" y="4352274"/>
            <a:ext cx="2743200" cy="806407"/>
          </a:xfrm>
        </p:spPr>
        <p:txBody>
          <a:bodyPr anchor="ctr">
            <a:noAutofit/>
          </a:bodyPr>
          <a:lstStyle>
            <a:lvl1pPr>
              <a:defRPr lang="en-GB" sz="1200" b="1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3C71A331-AA90-4DD1-A4A6-8BB65ADFF2C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210262" y="4352274"/>
            <a:ext cx="8472803" cy="806407"/>
          </a:xfrm>
        </p:spPr>
        <p:txBody>
          <a:bodyPr anchor="ctr">
            <a:noAutofit/>
          </a:bodyPr>
          <a:lstStyle>
            <a:lvl1pPr marL="228600" indent="-228600">
              <a:defRPr lang="en-GB" sz="1200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28600" indent="-228600">
              <a:defRPr/>
            </a:lvl2pPr>
            <a:lvl3pPr marL="228600" indent="-228600">
              <a:defRPr/>
            </a:lvl3pPr>
            <a:lvl4pPr marL="228600" indent="-228600">
              <a:defRPr/>
            </a:lvl4pPr>
            <a:lvl5pPr marL="228600" indent="-228600"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A14452FE-099F-4196-9B11-FB7762D34F2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81000" y="5353093"/>
            <a:ext cx="2743200" cy="806407"/>
          </a:xfrm>
        </p:spPr>
        <p:txBody>
          <a:bodyPr anchor="ctr">
            <a:noAutofit/>
          </a:bodyPr>
          <a:lstStyle>
            <a:lvl1pPr>
              <a:defRPr lang="en-GB" sz="1200" b="1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AEA2D9F8-B0E3-41C4-8EFC-C18EDA4454F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10262" y="5353093"/>
            <a:ext cx="8472803" cy="806407"/>
          </a:xfrm>
        </p:spPr>
        <p:txBody>
          <a:bodyPr anchor="ctr">
            <a:noAutofit/>
          </a:bodyPr>
          <a:lstStyle>
            <a:lvl1pPr marL="228600" indent="-228600">
              <a:defRPr lang="en-GB" sz="1200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28600" indent="-228600">
              <a:defRPr/>
            </a:lvl2pPr>
            <a:lvl3pPr marL="228600" indent="-228600">
              <a:defRPr/>
            </a:lvl3pPr>
            <a:lvl4pPr marL="228600" indent="-228600">
              <a:defRPr/>
            </a:lvl4pPr>
            <a:lvl5pPr marL="228600" indent="-228600"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AA6A895-2040-4C3E-9A1B-8C415045D378}"/>
              </a:ext>
            </a:extLst>
          </p:cNvPr>
          <p:cNvCxnSpPr>
            <a:cxnSpLocks/>
          </p:cNvCxnSpPr>
          <p:nvPr userDrawn="1"/>
        </p:nvCxnSpPr>
        <p:spPr>
          <a:xfrm>
            <a:off x="381000" y="3254246"/>
            <a:ext cx="11430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EBF287A-0B2E-4BAB-B9FC-B2A7EB6D6166}"/>
              </a:ext>
            </a:extLst>
          </p:cNvPr>
          <p:cNvCxnSpPr>
            <a:cxnSpLocks/>
          </p:cNvCxnSpPr>
          <p:nvPr userDrawn="1"/>
        </p:nvCxnSpPr>
        <p:spPr>
          <a:xfrm>
            <a:off x="381000" y="4255067"/>
            <a:ext cx="11430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B68DB3D-437D-438E-8167-4A133275C366}"/>
              </a:ext>
            </a:extLst>
          </p:cNvPr>
          <p:cNvCxnSpPr>
            <a:cxnSpLocks/>
          </p:cNvCxnSpPr>
          <p:nvPr userDrawn="1"/>
        </p:nvCxnSpPr>
        <p:spPr>
          <a:xfrm>
            <a:off x="381000" y="5255888"/>
            <a:ext cx="11430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E8E31A0D-2EED-DF92-2B80-3CF38A89AB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501CDF0-53BC-4002-9AFF-A24B6D4F243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10262" y="1749425"/>
            <a:ext cx="8600738" cy="504000"/>
          </a:xfrm>
          <a:custGeom>
            <a:avLst/>
            <a:gdLst>
              <a:gd name="connsiteX0" fmla="*/ 126000 w 8600738"/>
              <a:gd name="connsiteY0" fmla="*/ 0 h 504000"/>
              <a:gd name="connsiteX1" fmla="*/ 8600738 w 8600738"/>
              <a:gd name="connsiteY1" fmla="*/ 0 h 504000"/>
              <a:gd name="connsiteX2" fmla="*/ 8474738 w 8600738"/>
              <a:gd name="connsiteY2" fmla="*/ 504000 h 504000"/>
              <a:gd name="connsiteX3" fmla="*/ 0 w 8600738"/>
              <a:gd name="connsiteY3" fmla="*/ 504000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00738" h="504000">
                <a:moveTo>
                  <a:pt x="126000" y="0"/>
                </a:moveTo>
                <a:lnTo>
                  <a:pt x="8600738" y="0"/>
                </a:lnTo>
                <a:lnTo>
                  <a:pt x="8474738" y="504000"/>
                </a:lnTo>
                <a:lnTo>
                  <a:pt x="0" y="504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lIns="228600" tIns="45720" rIns="228600" bIns="45720" anchor="ctr">
            <a:noAutofit/>
          </a:bodyPr>
          <a:lstStyle>
            <a:lvl1pPr marL="0" indent="0" algn="l">
              <a:buNone/>
              <a:defRPr sz="1400" b="1" i="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98342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21D9686-D61C-E3FA-D9D1-21E3EC958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E1AA924-420F-3F2E-AD54-8F437A89B1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1749425"/>
            <a:ext cx="3686175" cy="504000"/>
          </a:xfrm>
          <a:prstGeom prst="parallelogram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07DFCC3D-79B1-B2C2-E5FE-DBB8CCD7D52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2912" y="1749425"/>
            <a:ext cx="3686175" cy="504000"/>
          </a:xfrm>
          <a:prstGeom prst="parallelogram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79B55756-003A-46FE-BC73-669E725E11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4825" y="1749425"/>
            <a:ext cx="3686175" cy="504000"/>
          </a:xfrm>
          <a:prstGeom prst="parallelogram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18CB7F-C49D-47F1-87E2-FE511F8332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00" y="2417977"/>
            <a:ext cx="3541321" cy="3741523"/>
          </a:xfrm>
        </p:spPr>
        <p:txBody>
          <a:bodyPr lIns="0" tIns="0" rIns="0" bIns="0">
            <a:no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7DB576C-7497-43FD-8CA9-9BB41AA914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52912" y="2417977"/>
            <a:ext cx="3541321" cy="3741523"/>
          </a:xfrm>
        </p:spPr>
        <p:txBody>
          <a:bodyPr lIns="0" tIns="0" rIns="0" bIns="0">
            <a:no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5D5D8F4-49EB-4ED6-A86D-7ACD625444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24825" y="2417977"/>
            <a:ext cx="3541321" cy="3741523"/>
          </a:xfrm>
        </p:spPr>
        <p:txBody>
          <a:bodyPr lIns="0" tIns="0" rIns="0" bIns="0">
            <a:no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53CAFF-F64F-99F3-1C15-2943F43BC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207624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hree parts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21D9686-D61C-E3FA-D9D1-21E3EC958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8178B9-9CAB-4111-AFE4-FCD91FCB342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1000" y="1755073"/>
            <a:ext cx="3749261" cy="595140"/>
          </a:xfrm>
          <a:prstGeom prst="homePlate">
            <a:avLst>
              <a:gd name="adj" fmla="val 27594"/>
            </a:avLst>
          </a:prstGeom>
          <a:solidFill>
            <a:schemeClr val="bg2"/>
          </a:solidFill>
          <a:ln w="3175">
            <a:noFill/>
          </a:ln>
        </p:spPr>
        <p:txBody>
          <a:bodyPr lIns="64008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E43C7D5-1AE2-4969-8D61-6E81FFDA49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9565" y="1813638"/>
            <a:ext cx="478010" cy="478010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i="0" baseline="0">
                <a:solidFill>
                  <a:schemeClr val="bg2"/>
                </a:solidFill>
              </a:defRPr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85800" indent="0" algn="ctr">
              <a:buNone/>
              <a:defRPr/>
            </a:lvl4pPr>
            <a:lvl5pPr marL="914400" indent="0" algn="ctr">
              <a:buNone/>
              <a:defRPr/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C12ACDB-7F6E-4D69-AC7C-B8CB4866B4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21370" y="1755073"/>
            <a:ext cx="3749261" cy="595140"/>
          </a:xfrm>
          <a:prstGeom prst="homePlate">
            <a:avLst>
              <a:gd name="adj" fmla="val 27594"/>
            </a:avLst>
          </a:prstGeom>
          <a:solidFill>
            <a:schemeClr val="tx2"/>
          </a:solidFill>
          <a:ln w="3175">
            <a:noFill/>
          </a:ln>
        </p:spPr>
        <p:txBody>
          <a:bodyPr lIns="64008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382F72FC-E817-4134-991D-E5C6F62508B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9935" y="1813638"/>
            <a:ext cx="478010" cy="478010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i="0" baseline="0">
                <a:solidFill>
                  <a:schemeClr val="tx2"/>
                </a:solidFill>
              </a:defRPr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85800" indent="0" algn="ctr">
              <a:buNone/>
              <a:defRPr/>
            </a:lvl4pPr>
            <a:lvl5pPr marL="914400" indent="0" algn="ctr">
              <a:buNone/>
              <a:defRPr/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718546A-E34E-48A7-97E3-DA30E04D45C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61739" y="1755073"/>
            <a:ext cx="3749261" cy="595140"/>
          </a:xfrm>
          <a:prstGeom prst="homePlate">
            <a:avLst>
              <a:gd name="adj" fmla="val 27594"/>
            </a:avLst>
          </a:prstGeom>
          <a:solidFill>
            <a:schemeClr val="accent1"/>
          </a:solidFill>
          <a:ln w="3175">
            <a:noFill/>
          </a:ln>
        </p:spPr>
        <p:txBody>
          <a:bodyPr lIns="64008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C416119A-9667-46B0-9AAA-E60DFF5910E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0304" y="1813638"/>
            <a:ext cx="478010" cy="478010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i="0" baseline="0">
                <a:solidFill>
                  <a:schemeClr val="accent1"/>
                </a:solidFill>
              </a:defRPr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85800" indent="0" algn="ctr">
              <a:buNone/>
              <a:defRPr/>
            </a:lvl4pPr>
            <a:lvl5pPr marL="914400" indent="0" algn="ctr">
              <a:buNone/>
              <a:defRPr/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18CB7F-C49D-47F1-87E2-FE511F8332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00" y="2417977"/>
            <a:ext cx="3578493" cy="3741523"/>
          </a:xfrm>
        </p:spPr>
        <p:txBody>
          <a:bodyPr>
            <a:no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7DB576C-7497-43FD-8CA9-9BB41AA914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21370" y="2417977"/>
            <a:ext cx="3578493" cy="3741523"/>
          </a:xfrm>
        </p:spPr>
        <p:txBody>
          <a:bodyPr>
            <a:no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5D5D8F4-49EB-4ED6-A86D-7ACD625444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61739" y="2417977"/>
            <a:ext cx="3578493" cy="3741523"/>
          </a:xfrm>
        </p:spPr>
        <p:txBody>
          <a:bodyPr>
            <a:no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172E33-86F4-7F47-E721-D74AD614F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478515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 three parts v3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C52CABD9-F1FB-1BB2-1626-0C1DFA7770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anchor="ctr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9613993-9D9F-5289-7DF2-83E3549ED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B318FCF-7489-8375-35A6-A98945A34F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00" y="3235895"/>
            <a:ext cx="3461353" cy="2923605"/>
          </a:xfrm>
        </p:spPr>
        <p:txBody>
          <a:bodyPr lIns="0" tIns="45720" rIns="0" bIns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0EB2423-B41D-3C94-04F2-9092D0613B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52914" y="3235895"/>
            <a:ext cx="3461353" cy="2923605"/>
          </a:xfrm>
        </p:spPr>
        <p:txBody>
          <a:bodyPr lIns="0" tIns="45720" rIns="0" bIns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8B6DF26C-F1B7-F178-5867-9BC9A16A668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24829" y="3235895"/>
            <a:ext cx="3461353" cy="2923605"/>
          </a:xfrm>
        </p:spPr>
        <p:txBody>
          <a:bodyPr lIns="0" tIns="45720" rIns="0" bIns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C52984A1-1010-4A2E-A163-00FE56218E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10800000" flipH="1">
            <a:off x="968676" y="2955299"/>
            <a:ext cx="2286000" cy="13586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1C2A04E1-F1A7-4E26-B64E-64699EDF58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 rot="10800000" flipH="1">
            <a:off x="4840591" y="2955299"/>
            <a:ext cx="2286000" cy="13586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C13C4474-FFB3-4752-8C38-E108CE01360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 rot="10800000" flipH="1">
            <a:off x="8712505" y="2955299"/>
            <a:ext cx="2286000" cy="13586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09781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hree parts v3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21D9686-D61C-E3FA-D9D1-21E3EC958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5C1B5B8F-8F7F-4A26-BA85-D4BA4E0DD8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1896171"/>
            <a:ext cx="3686171" cy="914400"/>
          </a:xfrm>
          <a:prstGeom prst="parallelogram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5696695-91BA-4DC5-8AD3-6D63161000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6725" y="1744665"/>
            <a:ext cx="274320" cy="2743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3437A52-D8B5-4EC5-893E-8E9C14C978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2914" y="1896171"/>
            <a:ext cx="3686171" cy="914400"/>
          </a:xfrm>
          <a:prstGeom prst="parallelogram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AD406D3A-5C08-4C2E-95C7-B4F54419389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38639" y="1744665"/>
            <a:ext cx="274320" cy="2743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754A8B8C-8F54-4392-A714-5B1F21C6F9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4829" y="1896171"/>
            <a:ext cx="3686171" cy="914400"/>
          </a:xfrm>
          <a:prstGeom prst="parallelogram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5A82B1AE-89C0-4198-9AA9-402DB3406A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10554" y="1744665"/>
            <a:ext cx="274320" cy="2743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83BEE76C-FDC0-4E76-8723-9E9D8A5D989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00" y="3235895"/>
            <a:ext cx="3461353" cy="2923605"/>
          </a:xfrm>
        </p:spPr>
        <p:txBody>
          <a:bodyPr lIns="0" tIns="45720" rIns="0" bIns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5278850B-74B2-4F43-8452-FEE8AEA300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52914" y="3235895"/>
            <a:ext cx="3461353" cy="2923605"/>
          </a:xfrm>
        </p:spPr>
        <p:txBody>
          <a:bodyPr lIns="0" tIns="45720" rIns="0" bIns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43C9F12F-ED06-41E8-99FD-389F9E09485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24829" y="3235895"/>
            <a:ext cx="3461353" cy="2923605"/>
          </a:xfrm>
        </p:spPr>
        <p:txBody>
          <a:bodyPr lIns="0" tIns="45720" rIns="0" bIns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BFFA38-4355-040C-6637-C75BBF684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581B735E-0A7D-404F-AF50-ECD0DF6C38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10800000" flipH="1">
            <a:off x="968676" y="2955299"/>
            <a:ext cx="2286000" cy="13586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FA067AC5-AD8D-44E6-8C58-DC1EFE6D56B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 rot="10800000" flipH="1">
            <a:off x="4840591" y="2955299"/>
            <a:ext cx="2286000" cy="13586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9" name="Text Placeholder 33">
            <a:extLst>
              <a:ext uri="{FF2B5EF4-FFF2-40B4-BE49-F238E27FC236}">
                <a16:creationId xmlns:a16="http://schemas.microsoft.com/office/drawing/2014/main" id="{CC3191A3-6685-4D82-8271-A0BD9314584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 rot="10800000" flipH="1">
            <a:off x="8712505" y="2955299"/>
            <a:ext cx="2286000" cy="13586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4486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part action and resul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C52CABD9-F1FB-1BB2-1626-0C1DFA7770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9613993-9D9F-5289-7DF2-83E3549ED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58B9C44-67A1-F19A-2F90-8D163C4BCE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1000" y="1749425"/>
            <a:ext cx="6858000" cy="274320"/>
          </a:xfrm>
        </p:spPr>
        <p:txBody>
          <a:bodyPr tIns="45720" anchor="t">
            <a:noAutofit/>
          </a:bodyPr>
          <a:lstStyle>
            <a:lvl1pPr marL="0" indent="0"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33E1813-119B-F20B-6245-2B1293AEBFA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696200" y="1749425"/>
            <a:ext cx="4114800" cy="274320"/>
          </a:xfrm>
        </p:spPr>
        <p:txBody>
          <a:bodyPr tIns="45720" anchor="t">
            <a:noAutofit/>
          </a:bodyPr>
          <a:lstStyle>
            <a:lvl1pPr marL="0" indent="0"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6052DD7-6318-B41C-E822-0A9B0261D4B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1000" y="2181637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2DA6305-14EF-58A7-D4A9-53DF9F80464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96200" y="2181637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B295A86-55EA-E45B-DE4B-3A4F945641B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0" y="3004653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2A1CD0D-D016-7206-D06A-2F07D0C457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96200" y="3004653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6C08BA1-17A1-DE85-A338-38E67AB591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1000" y="3827669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6910E45-C528-843E-E68C-96381B332C8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696200" y="3827669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146AFD0-EB4E-19A1-2B98-AF43D3C424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1000" y="4650685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4EAEBFB-1FC7-20E0-2AF9-DF1DE42449B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96200" y="4650685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49BE5BE-1B8E-A14C-8514-E56E51B7931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1000" y="5473700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51EDD64-FBB9-AC9B-0D49-1C0778F2764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696200" y="5473700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D0FA5101-23ED-4274-8DE4-4D15014FC2F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 rot="5400000" flipH="1">
            <a:off x="7136906" y="2454688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1" name="Text Placeholder 33">
            <a:extLst>
              <a:ext uri="{FF2B5EF4-FFF2-40B4-BE49-F238E27FC236}">
                <a16:creationId xmlns:a16="http://schemas.microsoft.com/office/drawing/2014/main" id="{C8AB2199-85DF-43D2-9C91-C454A629DC2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 flipH="1">
            <a:off x="7136906" y="3274405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31187B0D-2526-43B5-9BA9-02DDEAC64A1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5400000" flipH="1">
            <a:off x="7136906" y="4094122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3" name="Text Placeholder 33">
            <a:extLst>
              <a:ext uri="{FF2B5EF4-FFF2-40B4-BE49-F238E27FC236}">
                <a16:creationId xmlns:a16="http://schemas.microsoft.com/office/drawing/2014/main" id="{FA307AD5-7634-4142-A822-22527C2940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5400000" flipH="1">
            <a:off x="7136906" y="4913839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A906489B-C890-41CB-99F1-DC3F60AFDE6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 rot="5400000" flipH="1">
            <a:off x="7136906" y="5733557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57223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_4">
    <p:bg>
      <p:bgPr>
        <a:gradFill>
          <a:gsLst>
            <a:gs pos="0">
              <a:schemeClr val="bg2"/>
            </a:gs>
            <a:gs pos="100000">
              <a:schemeClr val="accent4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14E23-4D5A-C225-A302-6C9C57B22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643127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bg object 17">
            <a:extLst>
              <a:ext uri="{FF2B5EF4-FFF2-40B4-BE49-F238E27FC236}">
                <a16:creationId xmlns:a16="http://schemas.microsoft.com/office/drawing/2014/main" id="{5AE8EB3F-06DA-9660-72EB-9FC6330A4F34}"/>
              </a:ext>
            </a:extLst>
          </p:cNvPr>
          <p:cNvSpPr/>
          <p:nvPr userDrawn="1"/>
        </p:nvSpPr>
        <p:spPr>
          <a:xfrm>
            <a:off x="3791345" y="1"/>
            <a:ext cx="8400655" cy="6858000"/>
          </a:xfrm>
          <a:custGeom>
            <a:avLst/>
            <a:gdLst/>
            <a:ahLst/>
            <a:cxnLst/>
            <a:rect l="l" t="t" r="r" b="b"/>
            <a:pathLst>
              <a:path w="13852525" h="11308715">
                <a:moveTo>
                  <a:pt x="13663594" y="541274"/>
                </a:moveTo>
                <a:lnTo>
                  <a:pt x="13337552" y="886374"/>
                </a:lnTo>
                <a:lnTo>
                  <a:pt x="13458406" y="2559160"/>
                </a:lnTo>
                <a:lnTo>
                  <a:pt x="13784438" y="2214071"/>
                </a:lnTo>
                <a:lnTo>
                  <a:pt x="13663594" y="541274"/>
                </a:lnTo>
                <a:close/>
              </a:path>
              <a:path w="13852525" h="11308715">
                <a:moveTo>
                  <a:pt x="12862427" y="0"/>
                </a:moveTo>
                <a:lnTo>
                  <a:pt x="12842864" y="0"/>
                </a:lnTo>
                <a:lnTo>
                  <a:pt x="12849922" y="22955"/>
                </a:lnTo>
                <a:lnTo>
                  <a:pt x="12862427" y="0"/>
                </a:lnTo>
                <a:close/>
              </a:path>
              <a:path w="13852525" h="11308715">
                <a:moveTo>
                  <a:pt x="1356744" y="11181556"/>
                </a:moveTo>
                <a:lnTo>
                  <a:pt x="1317802" y="11206956"/>
                </a:lnTo>
                <a:lnTo>
                  <a:pt x="1288384" y="11308556"/>
                </a:lnTo>
                <a:lnTo>
                  <a:pt x="1318869" y="11308556"/>
                </a:lnTo>
                <a:lnTo>
                  <a:pt x="1356744" y="11181556"/>
                </a:lnTo>
                <a:close/>
              </a:path>
              <a:path w="13852525" h="11308715">
                <a:moveTo>
                  <a:pt x="2108543" y="10737056"/>
                </a:moveTo>
                <a:lnTo>
                  <a:pt x="1991771" y="10813256"/>
                </a:lnTo>
                <a:lnTo>
                  <a:pt x="1863059" y="11308556"/>
                </a:lnTo>
                <a:lnTo>
                  <a:pt x="1960085" y="11308556"/>
                </a:lnTo>
                <a:lnTo>
                  <a:pt x="2108543" y="10737056"/>
                </a:lnTo>
                <a:close/>
              </a:path>
              <a:path w="13852525" h="11308715">
                <a:moveTo>
                  <a:pt x="2860321" y="10292556"/>
                </a:moveTo>
                <a:lnTo>
                  <a:pt x="2665698" y="10419556"/>
                </a:lnTo>
                <a:lnTo>
                  <a:pt x="2464479" y="11308556"/>
                </a:lnTo>
                <a:lnTo>
                  <a:pt x="2631287" y="11308556"/>
                </a:lnTo>
                <a:lnTo>
                  <a:pt x="2860321" y="10292556"/>
                </a:lnTo>
                <a:close/>
              </a:path>
              <a:path w="13852525" h="11308715">
                <a:moveTo>
                  <a:pt x="4206856" y="10991056"/>
                </a:moveTo>
                <a:lnTo>
                  <a:pt x="3978528" y="11232356"/>
                </a:lnTo>
                <a:lnTo>
                  <a:pt x="3984302" y="11308556"/>
                </a:lnTo>
                <a:lnTo>
                  <a:pt x="4230674" y="11308556"/>
                </a:lnTo>
                <a:lnTo>
                  <a:pt x="4206856" y="10991056"/>
                </a:lnTo>
                <a:close/>
              </a:path>
              <a:path w="13852525" h="11308715">
                <a:moveTo>
                  <a:pt x="4844187" y="10356056"/>
                </a:moveTo>
                <a:lnTo>
                  <a:pt x="4550207" y="10660856"/>
                </a:lnTo>
                <a:lnTo>
                  <a:pt x="4626194" y="11308556"/>
                </a:lnTo>
                <a:lnTo>
                  <a:pt x="4956321" y="11308556"/>
                </a:lnTo>
                <a:lnTo>
                  <a:pt x="4844187" y="10356056"/>
                </a:lnTo>
                <a:close/>
              </a:path>
              <a:path w="13852525" h="11308715">
                <a:moveTo>
                  <a:pt x="5579023" y="11168856"/>
                </a:moveTo>
                <a:lnTo>
                  <a:pt x="5495758" y="11308556"/>
                </a:lnTo>
                <a:lnTo>
                  <a:pt x="5639011" y="11308556"/>
                </a:lnTo>
                <a:lnTo>
                  <a:pt x="5579023" y="11168856"/>
                </a:lnTo>
                <a:close/>
              </a:path>
              <a:path w="13852525" h="11308715">
                <a:moveTo>
                  <a:pt x="6049721" y="10356056"/>
                </a:moveTo>
                <a:lnTo>
                  <a:pt x="5788221" y="10825956"/>
                </a:lnTo>
                <a:lnTo>
                  <a:pt x="6010322" y="11308556"/>
                </a:lnTo>
                <a:lnTo>
                  <a:pt x="6481959" y="11308556"/>
                </a:lnTo>
                <a:lnTo>
                  <a:pt x="6049721" y="10356056"/>
                </a:lnTo>
                <a:close/>
              </a:path>
              <a:path w="13852525" h="11308715">
                <a:moveTo>
                  <a:pt x="6792159" y="10851356"/>
                </a:moveTo>
                <a:lnTo>
                  <a:pt x="6670546" y="11308556"/>
                </a:lnTo>
                <a:lnTo>
                  <a:pt x="7184035" y="11308556"/>
                </a:lnTo>
                <a:lnTo>
                  <a:pt x="6792159" y="10851356"/>
                </a:lnTo>
                <a:close/>
              </a:path>
              <a:path w="13852525" h="11308715">
                <a:moveTo>
                  <a:pt x="7666782" y="11130756"/>
                </a:moveTo>
                <a:lnTo>
                  <a:pt x="7667177" y="11308556"/>
                </a:lnTo>
                <a:lnTo>
                  <a:pt x="7938091" y="11308556"/>
                </a:lnTo>
                <a:lnTo>
                  <a:pt x="7666782" y="11130756"/>
                </a:lnTo>
                <a:close/>
              </a:path>
              <a:path w="13852525" h="11308715">
                <a:moveTo>
                  <a:pt x="9478281" y="10813256"/>
                </a:moveTo>
                <a:lnTo>
                  <a:pt x="7686195" y="10813256"/>
                </a:lnTo>
                <a:lnTo>
                  <a:pt x="8511158" y="11308556"/>
                </a:lnTo>
                <a:lnTo>
                  <a:pt x="8554593" y="11308556"/>
                </a:lnTo>
                <a:lnTo>
                  <a:pt x="8554315" y="10851356"/>
                </a:lnTo>
                <a:lnTo>
                  <a:pt x="9488564" y="10851356"/>
                </a:lnTo>
                <a:lnTo>
                  <a:pt x="9478281" y="10813256"/>
                </a:lnTo>
                <a:close/>
              </a:path>
              <a:path w="13852525" h="11308715">
                <a:moveTo>
                  <a:pt x="8619486" y="11168856"/>
                </a:moveTo>
                <a:lnTo>
                  <a:pt x="8658631" y="11308556"/>
                </a:lnTo>
                <a:lnTo>
                  <a:pt x="9042097" y="11308556"/>
                </a:lnTo>
                <a:lnTo>
                  <a:pt x="8619486" y="11168856"/>
                </a:lnTo>
                <a:close/>
              </a:path>
              <a:path w="13852525" h="11308715">
                <a:moveTo>
                  <a:pt x="9587425" y="10952956"/>
                </a:moveTo>
                <a:lnTo>
                  <a:pt x="9799117" y="11308556"/>
                </a:lnTo>
                <a:lnTo>
                  <a:pt x="10926641" y="11308556"/>
                </a:lnTo>
                <a:lnTo>
                  <a:pt x="10757923" y="11029156"/>
                </a:lnTo>
                <a:lnTo>
                  <a:pt x="9587425" y="10952956"/>
                </a:lnTo>
                <a:close/>
              </a:path>
              <a:path w="13852525" h="11308715">
                <a:moveTo>
                  <a:pt x="12527880" y="11029156"/>
                </a:moveTo>
                <a:lnTo>
                  <a:pt x="11234160" y="11219656"/>
                </a:lnTo>
                <a:lnTo>
                  <a:pt x="11329752" y="11308556"/>
                </a:lnTo>
                <a:lnTo>
                  <a:pt x="12829487" y="11308556"/>
                </a:lnTo>
                <a:lnTo>
                  <a:pt x="12527880" y="11029156"/>
                </a:lnTo>
                <a:close/>
              </a:path>
              <a:path w="13852525" h="11308715">
                <a:moveTo>
                  <a:pt x="7638137" y="10546556"/>
                </a:moveTo>
                <a:lnTo>
                  <a:pt x="6890020" y="10546556"/>
                </a:lnTo>
                <a:lnTo>
                  <a:pt x="6887821" y="10559256"/>
                </a:lnTo>
                <a:lnTo>
                  <a:pt x="7563947" y="11270456"/>
                </a:lnTo>
                <a:lnTo>
                  <a:pt x="7686195" y="10813256"/>
                </a:lnTo>
                <a:lnTo>
                  <a:pt x="9478281" y="10813256"/>
                </a:lnTo>
                <a:lnTo>
                  <a:pt x="9437147" y="10660856"/>
                </a:lnTo>
                <a:lnTo>
                  <a:pt x="10524376" y="10660856"/>
                </a:lnTo>
                <a:lnTo>
                  <a:pt x="10516980" y="10648156"/>
                </a:lnTo>
                <a:lnTo>
                  <a:pt x="8499343" y="10648156"/>
                </a:lnTo>
                <a:lnTo>
                  <a:pt x="8414694" y="10597356"/>
                </a:lnTo>
                <a:lnTo>
                  <a:pt x="7686069" y="10597356"/>
                </a:lnTo>
                <a:lnTo>
                  <a:pt x="7638137" y="10546556"/>
                </a:lnTo>
                <a:close/>
              </a:path>
              <a:path w="13852525" h="11308715">
                <a:moveTo>
                  <a:pt x="3612099" y="9848056"/>
                </a:moveTo>
                <a:lnTo>
                  <a:pt x="3339678" y="10013156"/>
                </a:lnTo>
                <a:lnTo>
                  <a:pt x="3128616" y="11143456"/>
                </a:lnTo>
                <a:lnTo>
                  <a:pt x="3401069" y="10978356"/>
                </a:lnTo>
                <a:lnTo>
                  <a:pt x="3612099" y="9848056"/>
                </a:lnTo>
                <a:close/>
              </a:path>
              <a:path w="13852525" h="11308715">
                <a:moveTo>
                  <a:pt x="9488564" y="10851356"/>
                </a:moveTo>
                <a:lnTo>
                  <a:pt x="8556681" y="10851356"/>
                </a:lnTo>
                <a:lnTo>
                  <a:pt x="9567405" y="11143456"/>
                </a:lnTo>
                <a:lnTo>
                  <a:pt x="9488564" y="10851356"/>
                </a:lnTo>
                <a:close/>
              </a:path>
              <a:path w="13852525" h="11308715">
                <a:moveTo>
                  <a:pt x="5481518" y="9708356"/>
                </a:moveTo>
                <a:lnTo>
                  <a:pt x="5121885" y="10089356"/>
                </a:lnTo>
                <a:lnTo>
                  <a:pt x="5288310" y="11092656"/>
                </a:lnTo>
                <a:lnTo>
                  <a:pt x="5647953" y="10711656"/>
                </a:lnTo>
                <a:lnTo>
                  <a:pt x="5481518" y="9708356"/>
                </a:lnTo>
                <a:close/>
              </a:path>
              <a:path w="13852525" h="11308715">
                <a:moveTo>
                  <a:pt x="13851902" y="10571956"/>
                </a:moveTo>
                <a:lnTo>
                  <a:pt x="13158437" y="10838656"/>
                </a:lnTo>
                <a:lnTo>
                  <a:pt x="13506593" y="11029156"/>
                </a:lnTo>
                <a:lnTo>
                  <a:pt x="13851902" y="10889456"/>
                </a:lnTo>
                <a:lnTo>
                  <a:pt x="13851902" y="10571956"/>
                </a:lnTo>
                <a:close/>
              </a:path>
              <a:path w="13852525" h="11308715">
                <a:moveTo>
                  <a:pt x="6806761" y="10102056"/>
                </a:moveTo>
                <a:lnTo>
                  <a:pt x="6214962" y="10102056"/>
                </a:lnTo>
                <a:lnTo>
                  <a:pt x="6210816" y="10114756"/>
                </a:lnTo>
                <a:lnTo>
                  <a:pt x="6660446" y="10965656"/>
                </a:lnTo>
                <a:lnTo>
                  <a:pt x="6890020" y="10546556"/>
                </a:lnTo>
                <a:lnTo>
                  <a:pt x="7638137" y="10546556"/>
                </a:lnTo>
                <a:lnTo>
                  <a:pt x="7458393" y="10356056"/>
                </a:lnTo>
                <a:lnTo>
                  <a:pt x="6941610" y="10356056"/>
                </a:lnTo>
                <a:lnTo>
                  <a:pt x="6806761" y="10102056"/>
                </a:lnTo>
                <a:close/>
              </a:path>
              <a:path w="13852525" h="11308715">
                <a:moveTo>
                  <a:pt x="11697937" y="10241756"/>
                </a:moveTo>
                <a:lnTo>
                  <a:pt x="10502769" y="10483056"/>
                </a:lnTo>
                <a:lnTo>
                  <a:pt x="10933949" y="10902156"/>
                </a:lnTo>
                <a:lnTo>
                  <a:pt x="12129107" y="10660856"/>
                </a:lnTo>
                <a:lnTo>
                  <a:pt x="11697937" y="10241756"/>
                </a:lnTo>
                <a:close/>
              </a:path>
              <a:path w="13852525" h="11308715">
                <a:moveTo>
                  <a:pt x="4363898" y="9390856"/>
                </a:moveTo>
                <a:lnTo>
                  <a:pt x="4013595" y="9619456"/>
                </a:lnTo>
                <a:lnTo>
                  <a:pt x="3860447" y="10673556"/>
                </a:lnTo>
                <a:lnTo>
                  <a:pt x="4210719" y="10457656"/>
                </a:lnTo>
                <a:lnTo>
                  <a:pt x="4363898" y="9390856"/>
                </a:lnTo>
                <a:close/>
              </a:path>
              <a:path w="13852525" h="11308715">
                <a:moveTo>
                  <a:pt x="10524376" y="10660856"/>
                </a:moveTo>
                <a:lnTo>
                  <a:pt x="9441827" y="10660856"/>
                </a:lnTo>
                <a:lnTo>
                  <a:pt x="10531773" y="10673556"/>
                </a:lnTo>
                <a:lnTo>
                  <a:pt x="10524376" y="10660856"/>
                </a:lnTo>
                <a:close/>
              </a:path>
              <a:path w="13852525" h="11308715">
                <a:moveTo>
                  <a:pt x="9253203" y="10025856"/>
                </a:moveTo>
                <a:lnTo>
                  <a:pt x="7875927" y="10025856"/>
                </a:lnTo>
                <a:lnTo>
                  <a:pt x="8408372" y="10305256"/>
                </a:lnTo>
                <a:lnTo>
                  <a:pt x="8499343" y="10648156"/>
                </a:lnTo>
                <a:lnTo>
                  <a:pt x="10516980" y="10648156"/>
                </a:lnTo>
                <a:lnTo>
                  <a:pt x="10413427" y="10470356"/>
                </a:lnTo>
                <a:lnTo>
                  <a:pt x="9327893" y="10470356"/>
                </a:lnTo>
                <a:lnTo>
                  <a:pt x="8539708" y="10241756"/>
                </a:lnTo>
                <a:lnTo>
                  <a:pt x="8539834" y="10038556"/>
                </a:lnTo>
                <a:lnTo>
                  <a:pt x="9256753" y="10038556"/>
                </a:lnTo>
                <a:lnTo>
                  <a:pt x="9253203" y="10025856"/>
                </a:lnTo>
                <a:close/>
              </a:path>
              <a:path w="13852525" h="11308715">
                <a:moveTo>
                  <a:pt x="9207049" y="9860756"/>
                </a:moveTo>
                <a:lnTo>
                  <a:pt x="7259580" y="9860756"/>
                </a:lnTo>
                <a:lnTo>
                  <a:pt x="7685860" y="10254456"/>
                </a:lnTo>
                <a:lnTo>
                  <a:pt x="7686069" y="10597356"/>
                </a:lnTo>
                <a:lnTo>
                  <a:pt x="8414694" y="10597356"/>
                </a:lnTo>
                <a:lnTo>
                  <a:pt x="7822149" y="10241756"/>
                </a:lnTo>
                <a:lnTo>
                  <a:pt x="7875927" y="10025856"/>
                </a:lnTo>
                <a:lnTo>
                  <a:pt x="9253203" y="10025856"/>
                </a:lnTo>
                <a:lnTo>
                  <a:pt x="9207049" y="9860756"/>
                </a:lnTo>
                <a:close/>
              </a:path>
              <a:path w="13852525" h="11308715">
                <a:moveTo>
                  <a:pt x="13475066" y="9759156"/>
                </a:moveTo>
                <a:lnTo>
                  <a:pt x="12227920" y="10305256"/>
                </a:lnTo>
                <a:lnTo>
                  <a:pt x="12673708" y="10546556"/>
                </a:lnTo>
                <a:lnTo>
                  <a:pt x="13851902" y="10025856"/>
                </a:lnTo>
                <a:lnTo>
                  <a:pt x="13851902" y="9962356"/>
                </a:lnTo>
                <a:lnTo>
                  <a:pt x="13475066" y="9759156"/>
                </a:lnTo>
                <a:close/>
              </a:path>
              <a:path w="13852525" h="11308715">
                <a:moveTo>
                  <a:pt x="918223" y="9301956"/>
                </a:moveTo>
                <a:lnTo>
                  <a:pt x="874706" y="9314656"/>
                </a:lnTo>
                <a:lnTo>
                  <a:pt x="182915" y="10495756"/>
                </a:lnTo>
                <a:lnTo>
                  <a:pt x="226443" y="10470356"/>
                </a:lnTo>
                <a:lnTo>
                  <a:pt x="918223" y="9301956"/>
                </a:lnTo>
                <a:close/>
              </a:path>
              <a:path w="13852525" h="11308715">
                <a:moveTo>
                  <a:pt x="9256753" y="10038556"/>
                </a:moveTo>
                <a:lnTo>
                  <a:pt x="8539834" y="10038556"/>
                </a:lnTo>
                <a:lnTo>
                  <a:pt x="9147072" y="10152856"/>
                </a:lnTo>
                <a:lnTo>
                  <a:pt x="9327893" y="10470356"/>
                </a:lnTo>
                <a:lnTo>
                  <a:pt x="10413427" y="10470356"/>
                </a:lnTo>
                <a:lnTo>
                  <a:pt x="10272891" y="10229056"/>
                </a:lnTo>
                <a:lnTo>
                  <a:pt x="10279707" y="10229056"/>
                </a:lnTo>
                <a:lnTo>
                  <a:pt x="10877850" y="10076656"/>
                </a:lnTo>
                <a:lnTo>
                  <a:pt x="10113807" y="10076656"/>
                </a:lnTo>
                <a:lnTo>
                  <a:pt x="9263854" y="10063956"/>
                </a:lnTo>
                <a:lnTo>
                  <a:pt x="9256753" y="10038556"/>
                </a:lnTo>
                <a:close/>
              </a:path>
              <a:path w="13852525" h="11308715">
                <a:moveTo>
                  <a:pt x="6217188" y="9505156"/>
                </a:moveTo>
                <a:lnTo>
                  <a:pt x="5699250" y="9505156"/>
                </a:lnTo>
                <a:lnTo>
                  <a:pt x="5693554" y="9517856"/>
                </a:lnTo>
                <a:lnTo>
                  <a:pt x="5899569" y="10432256"/>
                </a:lnTo>
                <a:lnTo>
                  <a:pt x="6214962" y="10102056"/>
                </a:lnTo>
                <a:lnTo>
                  <a:pt x="6806761" y="10102056"/>
                </a:lnTo>
                <a:lnTo>
                  <a:pt x="6712367" y="9924256"/>
                </a:lnTo>
                <a:lnTo>
                  <a:pt x="6311860" y="9924256"/>
                </a:lnTo>
                <a:lnTo>
                  <a:pt x="6217188" y="9505156"/>
                </a:lnTo>
                <a:close/>
              </a:path>
              <a:path w="13852525" h="11308715">
                <a:moveTo>
                  <a:pt x="9853036" y="9543256"/>
                </a:moveTo>
                <a:lnTo>
                  <a:pt x="6729292" y="9543256"/>
                </a:lnTo>
                <a:lnTo>
                  <a:pt x="7027000" y="10025856"/>
                </a:lnTo>
                <a:lnTo>
                  <a:pt x="6941610" y="10356056"/>
                </a:lnTo>
                <a:lnTo>
                  <a:pt x="7458393" y="10356056"/>
                </a:lnTo>
                <a:lnTo>
                  <a:pt x="7158818" y="10038556"/>
                </a:lnTo>
                <a:lnTo>
                  <a:pt x="7259580" y="9860756"/>
                </a:lnTo>
                <a:lnTo>
                  <a:pt x="9207049" y="9860756"/>
                </a:lnTo>
                <a:lnTo>
                  <a:pt x="9850537" y="9809956"/>
                </a:lnTo>
                <a:lnTo>
                  <a:pt x="11233329" y="9809956"/>
                </a:lnTo>
                <a:lnTo>
                  <a:pt x="11116350" y="9695656"/>
                </a:lnTo>
                <a:lnTo>
                  <a:pt x="9943571" y="9695656"/>
                </a:lnTo>
                <a:lnTo>
                  <a:pt x="9853036" y="9543256"/>
                </a:lnTo>
                <a:close/>
              </a:path>
              <a:path w="13852525" h="11308715">
                <a:moveTo>
                  <a:pt x="1727580" y="9060656"/>
                </a:moveTo>
                <a:lnTo>
                  <a:pt x="1599951" y="9111456"/>
                </a:lnTo>
                <a:lnTo>
                  <a:pt x="979394" y="10229056"/>
                </a:lnTo>
                <a:lnTo>
                  <a:pt x="1107013" y="10190956"/>
                </a:lnTo>
                <a:lnTo>
                  <a:pt x="1727580" y="9060656"/>
                </a:lnTo>
                <a:close/>
              </a:path>
              <a:path w="13852525" h="11308715">
                <a:moveTo>
                  <a:pt x="5115655" y="8946356"/>
                </a:moveTo>
                <a:lnTo>
                  <a:pt x="4687553" y="9213056"/>
                </a:lnTo>
                <a:lnTo>
                  <a:pt x="4592258" y="10203656"/>
                </a:lnTo>
                <a:lnTo>
                  <a:pt x="5020360" y="9936956"/>
                </a:lnTo>
                <a:lnTo>
                  <a:pt x="5115655" y="8946356"/>
                </a:lnTo>
                <a:close/>
              </a:path>
              <a:path w="13852525" h="11308715">
                <a:moveTo>
                  <a:pt x="11233329" y="9809956"/>
                </a:moveTo>
                <a:lnTo>
                  <a:pt x="9850537" y="9809956"/>
                </a:lnTo>
                <a:lnTo>
                  <a:pt x="10113807" y="10076656"/>
                </a:lnTo>
                <a:lnTo>
                  <a:pt x="10877850" y="10076656"/>
                </a:lnTo>
                <a:lnTo>
                  <a:pt x="11376302" y="9949656"/>
                </a:lnTo>
                <a:lnTo>
                  <a:pt x="11233329" y="9809956"/>
                </a:lnTo>
                <a:close/>
              </a:path>
              <a:path w="13852525" h="11308715">
                <a:moveTo>
                  <a:pt x="12433862" y="9213056"/>
                </a:moveTo>
                <a:lnTo>
                  <a:pt x="11297383" y="9771856"/>
                </a:lnTo>
                <a:lnTo>
                  <a:pt x="11840833" y="10063956"/>
                </a:lnTo>
                <a:lnTo>
                  <a:pt x="12977322" y="9505156"/>
                </a:lnTo>
                <a:lnTo>
                  <a:pt x="12433862" y="9213056"/>
                </a:lnTo>
                <a:close/>
              </a:path>
              <a:path w="13852525" h="11308715">
                <a:moveTo>
                  <a:pt x="2536927" y="8832056"/>
                </a:moveTo>
                <a:lnTo>
                  <a:pt x="2325217" y="8908256"/>
                </a:lnTo>
                <a:lnTo>
                  <a:pt x="1775893" y="9975056"/>
                </a:lnTo>
                <a:lnTo>
                  <a:pt x="1987583" y="9911556"/>
                </a:lnTo>
                <a:lnTo>
                  <a:pt x="2536927" y="8832056"/>
                </a:lnTo>
                <a:close/>
              </a:path>
              <a:path w="13852525" h="11308715">
                <a:moveTo>
                  <a:pt x="10489852" y="9111456"/>
                </a:moveTo>
                <a:lnTo>
                  <a:pt x="6315661" y="9111456"/>
                </a:lnTo>
                <a:lnTo>
                  <a:pt x="6472200" y="9644856"/>
                </a:lnTo>
                <a:lnTo>
                  <a:pt x="6311860" y="9924256"/>
                </a:lnTo>
                <a:lnTo>
                  <a:pt x="6712367" y="9924256"/>
                </a:lnTo>
                <a:lnTo>
                  <a:pt x="6591003" y="9695656"/>
                </a:lnTo>
                <a:lnTo>
                  <a:pt x="6729292" y="9543256"/>
                </a:lnTo>
                <a:lnTo>
                  <a:pt x="9853036" y="9543256"/>
                </a:lnTo>
                <a:lnTo>
                  <a:pt x="9830402" y="9505156"/>
                </a:lnTo>
                <a:lnTo>
                  <a:pt x="10466644" y="9289256"/>
                </a:lnTo>
                <a:lnTo>
                  <a:pt x="11532261" y="9289256"/>
                </a:lnTo>
                <a:lnTo>
                  <a:pt x="11783015" y="9149556"/>
                </a:lnTo>
                <a:lnTo>
                  <a:pt x="10527909" y="9149556"/>
                </a:lnTo>
                <a:lnTo>
                  <a:pt x="10489852" y="9111456"/>
                </a:lnTo>
                <a:close/>
              </a:path>
              <a:path w="13852525" h="11308715">
                <a:moveTo>
                  <a:pt x="5854782" y="8819356"/>
                </a:moveTo>
                <a:lnTo>
                  <a:pt x="5368265" y="8819356"/>
                </a:lnTo>
                <a:lnTo>
                  <a:pt x="5361413" y="8821283"/>
                </a:lnTo>
                <a:lnTo>
                  <a:pt x="5324057" y="9746456"/>
                </a:lnTo>
                <a:lnTo>
                  <a:pt x="5699250" y="9505156"/>
                </a:lnTo>
                <a:lnTo>
                  <a:pt x="6217188" y="9505156"/>
                </a:lnTo>
                <a:lnTo>
                  <a:pt x="6185631" y="9365456"/>
                </a:lnTo>
                <a:lnTo>
                  <a:pt x="5832366" y="9365456"/>
                </a:lnTo>
                <a:lnTo>
                  <a:pt x="5854782" y="8819356"/>
                </a:lnTo>
                <a:close/>
              </a:path>
              <a:path w="13852525" h="11308715">
                <a:moveTo>
                  <a:pt x="3346275" y="8603456"/>
                </a:moveTo>
                <a:lnTo>
                  <a:pt x="3050472" y="8692356"/>
                </a:lnTo>
                <a:lnTo>
                  <a:pt x="2572382" y="9721056"/>
                </a:lnTo>
                <a:lnTo>
                  <a:pt x="2868174" y="9619456"/>
                </a:lnTo>
                <a:lnTo>
                  <a:pt x="3346275" y="8603456"/>
                </a:lnTo>
                <a:close/>
              </a:path>
              <a:path w="13852525" h="11308715">
                <a:moveTo>
                  <a:pt x="11532261" y="9289256"/>
                </a:moveTo>
                <a:lnTo>
                  <a:pt x="10466644" y="9289256"/>
                </a:lnTo>
                <a:lnTo>
                  <a:pt x="10798718" y="9467056"/>
                </a:lnTo>
                <a:lnTo>
                  <a:pt x="9943571" y="9695656"/>
                </a:lnTo>
                <a:lnTo>
                  <a:pt x="11116350" y="9695656"/>
                </a:lnTo>
                <a:lnTo>
                  <a:pt x="10999371" y="9581356"/>
                </a:lnTo>
                <a:lnTo>
                  <a:pt x="11007958" y="9581356"/>
                </a:lnTo>
                <a:lnTo>
                  <a:pt x="11532261" y="9289256"/>
                </a:lnTo>
                <a:close/>
              </a:path>
              <a:path w="13852525" h="11308715">
                <a:moveTo>
                  <a:pt x="4155632" y="8374856"/>
                </a:moveTo>
                <a:lnTo>
                  <a:pt x="3775727" y="8489156"/>
                </a:lnTo>
                <a:lnTo>
                  <a:pt x="3368860" y="9454356"/>
                </a:lnTo>
                <a:lnTo>
                  <a:pt x="3748765" y="9340056"/>
                </a:lnTo>
                <a:lnTo>
                  <a:pt x="4155632" y="8374856"/>
                </a:lnTo>
                <a:close/>
              </a:path>
              <a:path w="13852525" h="11308715">
                <a:moveTo>
                  <a:pt x="11727822" y="8590756"/>
                </a:moveTo>
                <a:lnTo>
                  <a:pt x="6039638" y="8590756"/>
                </a:lnTo>
                <a:lnTo>
                  <a:pt x="6052663" y="9136856"/>
                </a:lnTo>
                <a:lnTo>
                  <a:pt x="5832366" y="9365456"/>
                </a:lnTo>
                <a:lnTo>
                  <a:pt x="6185631" y="9365456"/>
                </a:lnTo>
                <a:lnTo>
                  <a:pt x="6151205" y="9213056"/>
                </a:lnTo>
                <a:lnTo>
                  <a:pt x="6315661" y="9111456"/>
                </a:lnTo>
                <a:lnTo>
                  <a:pt x="10489852" y="9111456"/>
                </a:lnTo>
                <a:lnTo>
                  <a:pt x="10362993" y="8984456"/>
                </a:lnTo>
                <a:lnTo>
                  <a:pt x="10946389" y="8603456"/>
                </a:lnTo>
                <a:lnTo>
                  <a:pt x="11714521" y="8603456"/>
                </a:lnTo>
                <a:lnTo>
                  <a:pt x="11727822" y="8590756"/>
                </a:lnTo>
                <a:close/>
              </a:path>
              <a:path w="13852525" h="11308715">
                <a:moveTo>
                  <a:pt x="13851902" y="8451056"/>
                </a:moveTo>
                <a:lnTo>
                  <a:pt x="12983206" y="9124156"/>
                </a:lnTo>
                <a:lnTo>
                  <a:pt x="13494719" y="9251156"/>
                </a:lnTo>
                <a:lnTo>
                  <a:pt x="13851902" y="8959056"/>
                </a:lnTo>
                <a:lnTo>
                  <a:pt x="13851902" y="8451056"/>
                </a:lnTo>
                <a:close/>
              </a:path>
              <a:path w="13852525" h="11308715">
                <a:moveTo>
                  <a:pt x="4964979" y="8133556"/>
                </a:moveTo>
                <a:lnTo>
                  <a:pt x="4500993" y="8285956"/>
                </a:lnTo>
                <a:lnTo>
                  <a:pt x="4165328" y="9200356"/>
                </a:lnTo>
                <a:lnTo>
                  <a:pt x="4629345" y="9047956"/>
                </a:lnTo>
                <a:lnTo>
                  <a:pt x="4964979" y="8133556"/>
                </a:lnTo>
                <a:close/>
              </a:path>
              <a:path w="13852525" h="11308715">
                <a:moveTo>
                  <a:pt x="11714521" y="8603456"/>
                </a:moveTo>
                <a:lnTo>
                  <a:pt x="10946389" y="8603456"/>
                </a:lnTo>
                <a:lnTo>
                  <a:pt x="11327843" y="8692356"/>
                </a:lnTo>
                <a:lnTo>
                  <a:pt x="10527909" y="9149556"/>
                </a:lnTo>
                <a:lnTo>
                  <a:pt x="11783015" y="9149556"/>
                </a:lnTo>
                <a:lnTo>
                  <a:pt x="12033769" y="9009856"/>
                </a:lnTo>
                <a:lnTo>
                  <a:pt x="11558349" y="8743156"/>
                </a:lnTo>
                <a:lnTo>
                  <a:pt x="11568202" y="8743156"/>
                </a:lnTo>
                <a:lnTo>
                  <a:pt x="11714521" y="8603456"/>
                </a:lnTo>
                <a:close/>
              </a:path>
              <a:path w="13852525" h="11308715">
                <a:moveTo>
                  <a:pt x="12901020" y="7993856"/>
                </a:moveTo>
                <a:lnTo>
                  <a:pt x="11907469" y="8857456"/>
                </a:lnTo>
                <a:lnTo>
                  <a:pt x="12531471" y="8997156"/>
                </a:lnTo>
                <a:lnTo>
                  <a:pt x="13525022" y="8133556"/>
                </a:lnTo>
                <a:lnTo>
                  <a:pt x="12901020" y="7993856"/>
                </a:lnTo>
                <a:close/>
              </a:path>
              <a:path w="13852525" h="11308715">
                <a:moveTo>
                  <a:pt x="5725039" y="8070056"/>
                </a:moveTo>
                <a:lnTo>
                  <a:pt x="5233589" y="8070056"/>
                </a:lnTo>
                <a:lnTo>
                  <a:pt x="5226178" y="8070286"/>
                </a:lnTo>
                <a:lnTo>
                  <a:pt x="4961838" y="8933656"/>
                </a:lnTo>
                <a:lnTo>
                  <a:pt x="5361413" y="8821283"/>
                </a:lnTo>
                <a:lnTo>
                  <a:pt x="5361491" y="8819356"/>
                </a:lnTo>
                <a:lnTo>
                  <a:pt x="5854782" y="8819356"/>
                </a:lnTo>
                <a:lnTo>
                  <a:pt x="5858953" y="8717756"/>
                </a:lnTo>
                <a:lnTo>
                  <a:pt x="5526627" y="8717756"/>
                </a:lnTo>
                <a:lnTo>
                  <a:pt x="5725039" y="8070056"/>
                </a:lnTo>
                <a:close/>
              </a:path>
              <a:path w="13852525" h="11308715">
                <a:moveTo>
                  <a:pt x="5368265" y="8819356"/>
                </a:moveTo>
                <a:lnTo>
                  <a:pt x="5361491" y="8819356"/>
                </a:lnTo>
                <a:lnTo>
                  <a:pt x="5361413" y="8821283"/>
                </a:lnTo>
                <a:lnTo>
                  <a:pt x="5368265" y="8819356"/>
                </a:lnTo>
                <a:close/>
              </a:path>
              <a:path w="13852525" h="11308715">
                <a:moveTo>
                  <a:pt x="11034068" y="8031956"/>
                </a:moveTo>
                <a:lnTo>
                  <a:pt x="5911840" y="8031956"/>
                </a:lnTo>
                <a:lnTo>
                  <a:pt x="5788671" y="8552656"/>
                </a:lnTo>
                <a:lnTo>
                  <a:pt x="5526627" y="8717756"/>
                </a:lnTo>
                <a:lnTo>
                  <a:pt x="5858953" y="8717756"/>
                </a:lnTo>
                <a:lnTo>
                  <a:pt x="5861559" y="8654256"/>
                </a:lnTo>
                <a:lnTo>
                  <a:pt x="6039638" y="8590756"/>
                </a:lnTo>
                <a:lnTo>
                  <a:pt x="11727822" y="8590756"/>
                </a:lnTo>
                <a:lnTo>
                  <a:pt x="11887442" y="8438356"/>
                </a:lnTo>
                <a:lnTo>
                  <a:pt x="10969582" y="8438356"/>
                </a:lnTo>
                <a:lnTo>
                  <a:pt x="10761483" y="8324056"/>
                </a:lnTo>
                <a:lnTo>
                  <a:pt x="11034068" y="8031956"/>
                </a:lnTo>
                <a:close/>
              </a:path>
              <a:path w="13852525" h="11308715">
                <a:moveTo>
                  <a:pt x="11954577" y="7790656"/>
                </a:moveTo>
                <a:lnTo>
                  <a:pt x="11654158" y="7790656"/>
                </a:lnTo>
                <a:lnTo>
                  <a:pt x="10969582" y="8438356"/>
                </a:lnTo>
                <a:lnTo>
                  <a:pt x="11887442" y="8438356"/>
                </a:lnTo>
                <a:lnTo>
                  <a:pt x="12446113" y="7904956"/>
                </a:lnTo>
                <a:lnTo>
                  <a:pt x="11954577" y="7790656"/>
                </a:lnTo>
                <a:close/>
              </a:path>
              <a:path w="13852525" h="11308715">
                <a:moveTo>
                  <a:pt x="979970" y="7396956"/>
                </a:moveTo>
                <a:lnTo>
                  <a:pt x="935060" y="7409656"/>
                </a:lnTo>
                <a:lnTo>
                  <a:pt x="0" y="8349456"/>
                </a:lnTo>
                <a:lnTo>
                  <a:pt x="44899" y="8336756"/>
                </a:lnTo>
                <a:lnTo>
                  <a:pt x="979970" y="7396956"/>
                </a:lnTo>
                <a:close/>
              </a:path>
              <a:path w="13852525" h="11308715">
                <a:moveTo>
                  <a:pt x="1789442" y="7384256"/>
                </a:moveTo>
                <a:lnTo>
                  <a:pt x="1660137" y="7396956"/>
                </a:lnTo>
                <a:lnTo>
                  <a:pt x="804153" y="8298656"/>
                </a:lnTo>
                <a:lnTo>
                  <a:pt x="933427" y="8298656"/>
                </a:lnTo>
                <a:lnTo>
                  <a:pt x="1789442" y="7384256"/>
                </a:lnTo>
                <a:close/>
              </a:path>
              <a:path w="13852525" h="11308715">
                <a:moveTo>
                  <a:pt x="2598884" y="7371556"/>
                </a:moveTo>
                <a:lnTo>
                  <a:pt x="2385225" y="7384256"/>
                </a:lnTo>
                <a:lnTo>
                  <a:pt x="1608296" y="8260556"/>
                </a:lnTo>
                <a:lnTo>
                  <a:pt x="1821944" y="8247856"/>
                </a:lnTo>
                <a:lnTo>
                  <a:pt x="2598884" y="7371556"/>
                </a:lnTo>
                <a:close/>
              </a:path>
              <a:path w="13852525" h="11308715">
                <a:moveTo>
                  <a:pt x="3408325" y="7358856"/>
                </a:moveTo>
                <a:lnTo>
                  <a:pt x="3110324" y="7371556"/>
                </a:lnTo>
                <a:lnTo>
                  <a:pt x="2412450" y="8222456"/>
                </a:lnTo>
                <a:lnTo>
                  <a:pt x="2710472" y="8197056"/>
                </a:lnTo>
                <a:lnTo>
                  <a:pt x="3408325" y="7358856"/>
                </a:lnTo>
                <a:close/>
              </a:path>
              <a:path w="13852525" h="11308715">
                <a:moveTo>
                  <a:pt x="4217798" y="7346156"/>
                </a:moveTo>
                <a:lnTo>
                  <a:pt x="3835401" y="7358856"/>
                </a:lnTo>
                <a:lnTo>
                  <a:pt x="3216593" y="8171656"/>
                </a:lnTo>
                <a:lnTo>
                  <a:pt x="3598979" y="8158956"/>
                </a:lnTo>
                <a:lnTo>
                  <a:pt x="4217798" y="7346156"/>
                </a:lnTo>
                <a:close/>
              </a:path>
              <a:path w="13852525" h="11308715">
                <a:moveTo>
                  <a:pt x="5027260" y="7333456"/>
                </a:moveTo>
                <a:lnTo>
                  <a:pt x="4560478" y="7346156"/>
                </a:lnTo>
                <a:lnTo>
                  <a:pt x="4020736" y="8133556"/>
                </a:lnTo>
                <a:lnTo>
                  <a:pt x="4487507" y="8108156"/>
                </a:lnTo>
                <a:lnTo>
                  <a:pt x="5027260" y="7333456"/>
                </a:lnTo>
                <a:close/>
              </a:path>
              <a:path w="13852525" h="11308715">
                <a:moveTo>
                  <a:pt x="11539800" y="6863556"/>
                </a:moveTo>
                <a:lnTo>
                  <a:pt x="5944960" y="6863556"/>
                </a:lnTo>
                <a:lnTo>
                  <a:pt x="6091165" y="6939756"/>
                </a:lnTo>
                <a:lnTo>
                  <a:pt x="5750913" y="7320756"/>
                </a:lnTo>
                <a:lnTo>
                  <a:pt x="5465456" y="7333456"/>
                </a:lnTo>
                <a:lnTo>
                  <a:pt x="5285566" y="7333456"/>
                </a:lnTo>
                <a:lnTo>
                  <a:pt x="4824879" y="8082756"/>
                </a:lnTo>
                <a:lnTo>
                  <a:pt x="5226178" y="8070286"/>
                </a:lnTo>
                <a:lnTo>
                  <a:pt x="5226249" y="8070056"/>
                </a:lnTo>
                <a:lnTo>
                  <a:pt x="5725039" y="8070056"/>
                </a:lnTo>
                <a:lnTo>
                  <a:pt x="5732820" y="8044656"/>
                </a:lnTo>
                <a:lnTo>
                  <a:pt x="5911840" y="8031956"/>
                </a:lnTo>
                <a:lnTo>
                  <a:pt x="11034068" y="8031956"/>
                </a:lnTo>
                <a:lnTo>
                  <a:pt x="11045920" y="8019256"/>
                </a:lnTo>
                <a:lnTo>
                  <a:pt x="5405133" y="8019256"/>
                </a:lnTo>
                <a:lnTo>
                  <a:pt x="5764379" y="7435056"/>
                </a:lnTo>
                <a:lnTo>
                  <a:pt x="11064475" y="7435056"/>
                </a:lnTo>
                <a:lnTo>
                  <a:pt x="11337424" y="6927056"/>
                </a:lnTo>
                <a:lnTo>
                  <a:pt x="11539800" y="6863556"/>
                </a:lnTo>
                <a:close/>
              </a:path>
              <a:path w="13852525" h="11308715">
                <a:moveTo>
                  <a:pt x="5233589" y="8070056"/>
                </a:moveTo>
                <a:lnTo>
                  <a:pt x="5226249" y="8070056"/>
                </a:lnTo>
                <a:lnTo>
                  <a:pt x="5226178" y="8070286"/>
                </a:lnTo>
                <a:lnTo>
                  <a:pt x="5233589" y="8070056"/>
                </a:lnTo>
                <a:close/>
              </a:path>
              <a:path w="13852525" h="11308715">
                <a:moveTo>
                  <a:pt x="11064475" y="7435056"/>
                </a:moveTo>
                <a:lnTo>
                  <a:pt x="5764379" y="7435056"/>
                </a:lnTo>
                <a:lnTo>
                  <a:pt x="5932290" y="7473156"/>
                </a:lnTo>
                <a:lnTo>
                  <a:pt x="5689010" y="7930356"/>
                </a:lnTo>
                <a:lnTo>
                  <a:pt x="5405133" y="8019256"/>
                </a:lnTo>
                <a:lnTo>
                  <a:pt x="11045920" y="8019256"/>
                </a:lnTo>
                <a:lnTo>
                  <a:pt x="11247395" y="7803356"/>
                </a:lnTo>
                <a:lnTo>
                  <a:pt x="11654158" y="7790656"/>
                </a:lnTo>
                <a:lnTo>
                  <a:pt x="11954577" y="7790656"/>
                </a:lnTo>
                <a:lnTo>
                  <a:pt x="11899962" y="7777956"/>
                </a:lnTo>
                <a:lnTo>
                  <a:pt x="11910475" y="7777956"/>
                </a:lnTo>
                <a:lnTo>
                  <a:pt x="11996729" y="7638256"/>
                </a:lnTo>
                <a:lnTo>
                  <a:pt x="11228548" y="7638256"/>
                </a:lnTo>
                <a:lnTo>
                  <a:pt x="10989414" y="7574756"/>
                </a:lnTo>
                <a:lnTo>
                  <a:pt x="11064475" y="7435056"/>
                </a:lnTo>
                <a:close/>
              </a:path>
              <a:path w="13852525" h="11308715">
                <a:moveTo>
                  <a:pt x="13715058" y="6647656"/>
                </a:moveTo>
                <a:lnTo>
                  <a:pt x="13049916" y="6673056"/>
                </a:lnTo>
                <a:lnTo>
                  <a:pt x="12278526" y="7790656"/>
                </a:lnTo>
                <a:lnTo>
                  <a:pt x="12943658" y="7765256"/>
                </a:lnTo>
                <a:lnTo>
                  <a:pt x="13715058" y="6647656"/>
                </a:lnTo>
                <a:close/>
              </a:path>
              <a:path w="13852525" h="11308715">
                <a:moveTo>
                  <a:pt x="13851902" y="7219156"/>
                </a:moveTo>
                <a:lnTo>
                  <a:pt x="13431926" y="7765256"/>
                </a:lnTo>
                <a:lnTo>
                  <a:pt x="13851902" y="7752556"/>
                </a:lnTo>
                <a:lnTo>
                  <a:pt x="13851902" y="7219156"/>
                </a:lnTo>
                <a:close/>
              </a:path>
              <a:path w="13852525" h="11308715">
                <a:moveTo>
                  <a:pt x="12514256" y="6800056"/>
                </a:moveTo>
                <a:lnTo>
                  <a:pt x="11742176" y="6800056"/>
                </a:lnTo>
                <a:lnTo>
                  <a:pt x="11228548" y="7638256"/>
                </a:lnTo>
                <a:lnTo>
                  <a:pt x="11996729" y="7638256"/>
                </a:lnTo>
                <a:lnTo>
                  <a:pt x="12514256" y="6800056"/>
                </a:lnTo>
                <a:close/>
              </a:path>
              <a:path w="13852525" h="11308715">
                <a:moveTo>
                  <a:pt x="5518683" y="6653162"/>
                </a:moveTo>
                <a:lnTo>
                  <a:pt x="4909473" y="7244556"/>
                </a:lnTo>
                <a:lnTo>
                  <a:pt x="5292969" y="7333456"/>
                </a:lnTo>
                <a:lnTo>
                  <a:pt x="5465456" y="7333456"/>
                </a:lnTo>
                <a:lnTo>
                  <a:pt x="5944960" y="6863556"/>
                </a:lnTo>
                <a:lnTo>
                  <a:pt x="11539800" y="6863556"/>
                </a:lnTo>
                <a:lnTo>
                  <a:pt x="11742176" y="6800056"/>
                </a:lnTo>
                <a:lnTo>
                  <a:pt x="12514256" y="6800056"/>
                </a:lnTo>
                <a:lnTo>
                  <a:pt x="12529939" y="6774656"/>
                </a:lnTo>
                <a:lnTo>
                  <a:pt x="11020240" y="6774656"/>
                </a:lnTo>
                <a:lnTo>
                  <a:pt x="11026344" y="6749256"/>
                </a:lnTo>
                <a:lnTo>
                  <a:pt x="5960991" y="6749256"/>
                </a:lnTo>
                <a:lnTo>
                  <a:pt x="5693135" y="6685756"/>
                </a:lnTo>
                <a:lnTo>
                  <a:pt x="5737997" y="6660356"/>
                </a:lnTo>
                <a:lnTo>
                  <a:pt x="5531297" y="6660356"/>
                </a:lnTo>
                <a:lnTo>
                  <a:pt x="5518683" y="6653162"/>
                </a:lnTo>
                <a:close/>
              </a:path>
              <a:path w="13852525" h="11308715">
                <a:moveTo>
                  <a:pt x="4847957" y="6482556"/>
                </a:moveTo>
                <a:lnTo>
                  <a:pt x="4151925" y="7079456"/>
                </a:lnTo>
                <a:lnTo>
                  <a:pt x="4590069" y="7181056"/>
                </a:lnTo>
                <a:lnTo>
                  <a:pt x="5286111" y="6584156"/>
                </a:lnTo>
                <a:lnTo>
                  <a:pt x="4847957" y="6482556"/>
                </a:lnTo>
                <a:close/>
              </a:path>
              <a:path w="13852525" h="11308715">
                <a:moveTo>
                  <a:pt x="4171558" y="6304756"/>
                </a:moveTo>
                <a:lnTo>
                  <a:pt x="3394367" y="6914356"/>
                </a:lnTo>
                <a:lnTo>
                  <a:pt x="3753519" y="7003256"/>
                </a:lnTo>
                <a:lnTo>
                  <a:pt x="4530731" y="6393656"/>
                </a:lnTo>
                <a:lnTo>
                  <a:pt x="4171558" y="6304756"/>
                </a:lnTo>
                <a:close/>
              </a:path>
              <a:path w="13852525" h="11308715">
                <a:moveTo>
                  <a:pt x="3495139" y="6139656"/>
                </a:moveTo>
                <a:lnTo>
                  <a:pt x="2636809" y="6761956"/>
                </a:lnTo>
                <a:lnTo>
                  <a:pt x="2916968" y="6825456"/>
                </a:lnTo>
                <a:lnTo>
                  <a:pt x="3775330" y="6203156"/>
                </a:lnTo>
                <a:lnTo>
                  <a:pt x="3495139" y="6139656"/>
                </a:lnTo>
                <a:close/>
              </a:path>
              <a:path w="13852525" h="11308715">
                <a:moveTo>
                  <a:pt x="12278779" y="5809456"/>
                </a:moveTo>
                <a:lnTo>
                  <a:pt x="11571134" y="5809456"/>
                </a:lnTo>
                <a:lnTo>
                  <a:pt x="11275332" y="6774656"/>
                </a:lnTo>
                <a:lnTo>
                  <a:pt x="12529939" y="6774656"/>
                </a:lnTo>
                <a:lnTo>
                  <a:pt x="12561304" y="6723856"/>
                </a:lnTo>
                <a:lnTo>
                  <a:pt x="11986744" y="6723856"/>
                </a:lnTo>
                <a:lnTo>
                  <a:pt x="11997286" y="6723626"/>
                </a:lnTo>
                <a:lnTo>
                  <a:pt x="12278779" y="5809456"/>
                </a:lnTo>
                <a:close/>
              </a:path>
              <a:path w="13852525" h="11308715">
                <a:moveTo>
                  <a:pt x="11117907" y="6368256"/>
                </a:moveTo>
                <a:lnTo>
                  <a:pt x="6253903" y="6368256"/>
                </a:lnTo>
                <a:lnTo>
                  <a:pt x="6369868" y="6482556"/>
                </a:lnTo>
                <a:lnTo>
                  <a:pt x="5960991" y="6749256"/>
                </a:lnTo>
                <a:lnTo>
                  <a:pt x="11026344" y="6749256"/>
                </a:lnTo>
                <a:lnTo>
                  <a:pt x="11117907" y="6368256"/>
                </a:lnTo>
                <a:close/>
              </a:path>
              <a:path w="13852525" h="11308715">
                <a:moveTo>
                  <a:pt x="11997286" y="6723626"/>
                </a:moveTo>
                <a:lnTo>
                  <a:pt x="11986744" y="6723856"/>
                </a:lnTo>
                <a:lnTo>
                  <a:pt x="11997215" y="6723856"/>
                </a:lnTo>
                <a:lnTo>
                  <a:pt x="11997286" y="6723626"/>
                </a:lnTo>
                <a:close/>
              </a:path>
              <a:path w="13852525" h="11308715">
                <a:moveTo>
                  <a:pt x="12569146" y="6711156"/>
                </a:moveTo>
                <a:lnTo>
                  <a:pt x="11997286" y="6723626"/>
                </a:lnTo>
                <a:lnTo>
                  <a:pt x="11997215" y="6723856"/>
                </a:lnTo>
                <a:lnTo>
                  <a:pt x="12561304" y="6723856"/>
                </a:lnTo>
                <a:lnTo>
                  <a:pt x="12569146" y="6711156"/>
                </a:lnTo>
                <a:close/>
              </a:path>
              <a:path w="13852525" h="11308715">
                <a:moveTo>
                  <a:pt x="5524355" y="6647656"/>
                </a:moveTo>
                <a:lnTo>
                  <a:pt x="5518683" y="6653162"/>
                </a:lnTo>
                <a:lnTo>
                  <a:pt x="5531297" y="6660356"/>
                </a:lnTo>
                <a:lnTo>
                  <a:pt x="5524355" y="6647656"/>
                </a:lnTo>
                <a:close/>
              </a:path>
              <a:path w="13852525" h="11308715">
                <a:moveTo>
                  <a:pt x="5760427" y="6647656"/>
                </a:moveTo>
                <a:lnTo>
                  <a:pt x="5524355" y="6647656"/>
                </a:lnTo>
                <a:lnTo>
                  <a:pt x="5531297" y="6660356"/>
                </a:lnTo>
                <a:lnTo>
                  <a:pt x="5737997" y="6660356"/>
                </a:lnTo>
                <a:lnTo>
                  <a:pt x="5760427" y="6647656"/>
                </a:lnTo>
                <a:close/>
              </a:path>
              <a:path w="13852525" h="11308715">
                <a:moveTo>
                  <a:pt x="6424317" y="5606831"/>
                </a:moveTo>
                <a:lnTo>
                  <a:pt x="5657293" y="5809456"/>
                </a:lnTo>
                <a:lnTo>
                  <a:pt x="5922374" y="6063456"/>
                </a:lnTo>
                <a:lnTo>
                  <a:pt x="5916343" y="6063456"/>
                </a:lnTo>
                <a:lnTo>
                  <a:pt x="5197244" y="6469856"/>
                </a:lnTo>
                <a:lnTo>
                  <a:pt x="5518683" y="6653162"/>
                </a:lnTo>
                <a:lnTo>
                  <a:pt x="5524355" y="6647656"/>
                </a:lnTo>
                <a:lnTo>
                  <a:pt x="5760427" y="6647656"/>
                </a:lnTo>
                <a:lnTo>
                  <a:pt x="6253903" y="6368256"/>
                </a:lnTo>
                <a:lnTo>
                  <a:pt x="11117907" y="6368256"/>
                </a:lnTo>
                <a:lnTo>
                  <a:pt x="11142323" y="6266656"/>
                </a:lnTo>
                <a:lnTo>
                  <a:pt x="6296677" y="6266656"/>
                </a:lnTo>
                <a:lnTo>
                  <a:pt x="6063354" y="6139656"/>
                </a:lnTo>
                <a:lnTo>
                  <a:pt x="6663200" y="5987256"/>
                </a:lnTo>
                <a:lnTo>
                  <a:pt x="10839816" y="5987256"/>
                </a:lnTo>
                <a:lnTo>
                  <a:pt x="10837873" y="5898356"/>
                </a:lnTo>
                <a:lnTo>
                  <a:pt x="6728318" y="5898356"/>
                </a:lnTo>
                <a:lnTo>
                  <a:pt x="6543162" y="5720556"/>
                </a:lnTo>
                <a:lnTo>
                  <a:pt x="7526064" y="5720556"/>
                </a:lnTo>
                <a:lnTo>
                  <a:pt x="7221518" y="5657056"/>
                </a:lnTo>
                <a:lnTo>
                  <a:pt x="7199043" y="5618956"/>
                </a:lnTo>
                <a:lnTo>
                  <a:pt x="6431280" y="5618956"/>
                </a:lnTo>
                <a:lnTo>
                  <a:pt x="6424317" y="5606831"/>
                </a:lnTo>
                <a:close/>
              </a:path>
              <a:path w="13852525" h="11308715">
                <a:moveTo>
                  <a:pt x="2818762" y="5961856"/>
                </a:moveTo>
                <a:lnTo>
                  <a:pt x="1879251" y="6596856"/>
                </a:lnTo>
                <a:lnTo>
                  <a:pt x="2080439" y="6634956"/>
                </a:lnTo>
                <a:lnTo>
                  <a:pt x="3019960" y="5999956"/>
                </a:lnTo>
                <a:lnTo>
                  <a:pt x="2818762" y="5961856"/>
                </a:lnTo>
                <a:close/>
              </a:path>
              <a:path w="13852525" h="11308715">
                <a:moveTo>
                  <a:pt x="13512185" y="5123656"/>
                </a:moveTo>
                <a:lnTo>
                  <a:pt x="12850645" y="5326856"/>
                </a:lnTo>
                <a:lnTo>
                  <a:pt x="12369675" y="6634956"/>
                </a:lnTo>
                <a:lnTo>
                  <a:pt x="13031205" y="6431756"/>
                </a:lnTo>
                <a:lnTo>
                  <a:pt x="13512185" y="5123656"/>
                </a:lnTo>
                <a:close/>
              </a:path>
              <a:path w="13852525" h="11308715">
                <a:moveTo>
                  <a:pt x="2142343" y="5784056"/>
                </a:moveTo>
                <a:lnTo>
                  <a:pt x="1121683" y="6431756"/>
                </a:lnTo>
                <a:lnTo>
                  <a:pt x="1243888" y="6457156"/>
                </a:lnTo>
                <a:lnTo>
                  <a:pt x="2264569" y="5809456"/>
                </a:lnTo>
                <a:lnTo>
                  <a:pt x="2142343" y="5784056"/>
                </a:lnTo>
                <a:close/>
              </a:path>
              <a:path w="13852525" h="11308715">
                <a:moveTo>
                  <a:pt x="5331094" y="5733256"/>
                </a:moveTo>
                <a:lnTo>
                  <a:pt x="4534301" y="6126956"/>
                </a:lnTo>
                <a:lnTo>
                  <a:pt x="4916153" y="6330156"/>
                </a:lnTo>
                <a:lnTo>
                  <a:pt x="5712935" y="5936456"/>
                </a:lnTo>
                <a:lnTo>
                  <a:pt x="5331094" y="5733256"/>
                </a:lnTo>
                <a:close/>
              </a:path>
              <a:path w="13852525" h="11308715">
                <a:moveTo>
                  <a:pt x="13851902" y="5530056"/>
                </a:moveTo>
                <a:lnTo>
                  <a:pt x="13523546" y="6304756"/>
                </a:lnTo>
                <a:lnTo>
                  <a:pt x="13851902" y="6203156"/>
                </a:lnTo>
                <a:lnTo>
                  <a:pt x="13851902" y="5530056"/>
                </a:lnTo>
                <a:close/>
              </a:path>
              <a:path w="13852525" h="11308715">
                <a:moveTo>
                  <a:pt x="1509179" y="5618956"/>
                </a:moveTo>
                <a:lnTo>
                  <a:pt x="1465955" y="5618956"/>
                </a:lnTo>
                <a:lnTo>
                  <a:pt x="364135" y="6266656"/>
                </a:lnTo>
                <a:lnTo>
                  <a:pt x="407359" y="6266656"/>
                </a:lnTo>
                <a:lnTo>
                  <a:pt x="1509179" y="5618956"/>
                </a:lnTo>
                <a:close/>
              </a:path>
              <a:path w="13852525" h="11308715">
                <a:moveTo>
                  <a:pt x="11840169" y="4882356"/>
                </a:moveTo>
                <a:lnTo>
                  <a:pt x="11137440" y="4882356"/>
                </a:lnTo>
                <a:lnTo>
                  <a:pt x="11093704" y="5898356"/>
                </a:lnTo>
                <a:lnTo>
                  <a:pt x="10839816" y="5987256"/>
                </a:lnTo>
                <a:lnTo>
                  <a:pt x="6663200" y="5987256"/>
                </a:lnTo>
                <a:lnTo>
                  <a:pt x="6742904" y="6126956"/>
                </a:lnTo>
                <a:lnTo>
                  <a:pt x="6296677" y="6266656"/>
                </a:lnTo>
                <a:lnTo>
                  <a:pt x="11142323" y="6266656"/>
                </a:lnTo>
                <a:lnTo>
                  <a:pt x="11197261" y="6038056"/>
                </a:lnTo>
                <a:lnTo>
                  <a:pt x="11571134" y="5809456"/>
                </a:lnTo>
                <a:lnTo>
                  <a:pt x="12278779" y="5809456"/>
                </a:lnTo>
                <a:lnTo>
                  <a:pt x="12321796" y="5669756"/>
                </a:lnTo>
                <a:lnTo>
                  <a:pt x="11797054" y="5669756"/>
                </a:lnTo>
                <a:lnTo>
                  <a:pt x="11806857" y="5666748"/>
                </a:lnTo>
                <a:lnTo>
                  <a:pt x="11840169" y="4882356"/>
                </a:lnTo>
                <a:close/>
              </a:path>
              <a:path w="13852525" h="11308715">
                <a:moveTo>
                  <a:pt x="4745855" y="5390356"/>
                </a:moveTo>
                <a:lnTo>
                  <a:pt x="3871369" y="5784056"/>
                </a:lnTo>
                <a:lnTo>
                  <a:pt x="4184595" y="5949156"/>
                </a:lnTo>
                <a:lnTo>
                  <a:pt x="5059081" y="5568156"/>
                </a:lnTo>
                <a:lnTo>
                  <a:pt x="4745855" y="5390356"/>
                </a:lnTo>
                <a:close/>
              </a:path>
              <a:path w="13852525" h="11308715">
                <a:moveTo>
                  <a:pt x="7526064" y="5720556"/>
                </a:moveTo>
                <a:lnTo>
                  <a:pt x="7139688" y="5720556"/>
                </a:lnTo>
                <a:lnTo>
                  <a:pt x="7179875" y="5872956"/>
                </a:lnTo>
                <a:lnTo>
                  <a:pt x="6728318" y="5898356"/>
                </a:lnTo>
                <a:lnTo>
                  <a:pt x="10837873" y="5898356"/>
                </a:lnTo>
                <a:lnTo>
                  <a:pt x="10834542" y="5745956"/>
                </a:lnTo>
                <a:lnTo>
                  <a:pt x="7647882" y="5745956"/>
                </a:lnTo>
                <a:lnTo>
                  <a:pt x="7526064" y="5720556"/>
                </a:lnTo>
                <a:close/>
              </a:path>
              <a:path w="13852525" h="11308715">
                <a:moveTo>
                  <a:pt x="7709259" y="5441156"/>
                </a:moveTo>
                <a:lnTo>
                  <a:pt x="7094160" y="5441156"/>
                </a:lnTo>
                <a:lnTo>
                  <a:pt x="7647651" y="5593556"/>
                </a:lnTo>
                <a:lnTo>
                  <a:pt x="7647882" y="5745956"/>
                </a:lnTo>
                <a:lnTo>
                  <a:pt x="10834542" y="5745956"/>
                </a:lnTo>
                <a:lnTo>
                  <a:pt x="10831212" y="5593556"/>
                </a:lnTo>
                <a:lnTo>
                  <a:pt x="7807228" y="5593556"/>
                </a:lnTo>
                <a:lnTo>
                  <a:pt x="7739743" y="5555456"/>
                </a:lnTo>
                <a:lnTo>
                  <a:pt x="7709259" y="5441156"/>
                </a:lnTo>
                <a:close/>
              </a:path>
              <a:path w="13852525" h="11308715">
                <a:moveTo>
                  <a:pt x="11806857" y="5666748"/>
                </a:moveTo>
                <a:lnTo>
                  <a:pt x="11797054" y="5669756"/>
                </a:lnTo>
                <a:lnTo>
                  <a:pt x="11806729" y="5669756"/>
                </a:lnTo>
                <a:lnTo>
                  <a:pt x="11806857" y="5666748"/>
                </a:lnTo>
                <a:close/>
              </a:path>
              <a:path w="13852525" h="11308715">
                <a:moveTo>
                  <a:pt x="12376544" y="5491956"/>
                </a:moveTo>
                <a:lnTo>
                  <a:pt x="11806857" y="5666748"/>
                </a:lnTo>
                <a:lnTo>
                  <a:pt x="11806729" y="5669756"/>
                </a:lnTo>
                <a:lnTo>
                  <a:pt x="12321796" y="5669756"/>
                </a:lnTo>
                <a:lnTo>
                  <a:pt x="12376544" y="5491956"/>
                </a:lnTo>
                <a:close/>
              </a:path>
              <a:path w="13852525" h="11308715">
                <a:moveTo>
                  <a:pt x="6426495" y="5606256"/>
                </a:moveTo>
                <a:lnTo>
                  <a:pt x="6424317" y="5606831"/>
                </a:lnTo>
                <a:lnTo>
                  <a:pt x="6431280" y="5618956"/>
                </a:lnTo>
                <a:lnTo>
                  <a:pt x="6426495" y="5606256"/>
                </a:lnTo>
                <a:close/>
              </a:path>
              <a:path w="13852525" h="11308715">
                <a:moveTo>
                  <a:pt x="7191551" y="5606256"/>
                </a:moveTo>
                <a:lnTo>
                  <a:pt x="6426495" y="5606256"/>
                </a:lnTo>
                <a:lnTo>
                  <a:pt x="6431280" y="5618956"/>
                </a:lnTo>
                <a:lnTo>
                  <a:pt x="7199043" y="5618956"/>
                </a:lnTo>
                <a:lnTo>
                  <a:pt x="7191551" y="5606256"/>
                </a:lnTo>
                <a:close/>
              </a:path>
              <a:path w="13852525" h="11308715">
                <a:moveTo>
                  <a:pt x="7013797" y="5301456"/>
                </a:moveTo>
                <a:lnTo>
                  <a:pt x="6248940" y="5301456"/>
                </a:lnTo>
                <a:lnTo>
                  <a:pt x="6424317" y="5606831"/>
                </a:lnTo>
                <a:lnTo>
                  <a:pt x="6426495" y="5606256"/>
                </a:lnTo>
                <a:lnTo>
                  <a:pt x="7191551" y="5606256"/>
                </a:lnTo>
                <a:lnTo>
                  <a:pt x="7094160" y="5441156"/>
                </a:lnTo>
                <a:lnTo>
                  <a:pt x="7709259" y="5441156"/>
                </a:lnTo>
                <a:lnTo>
                  <a:pt x="7675389" y="5314156"/>
                </a:lnTo>
                <a:lnTo>
                  <a:pt x="7017210" y="5314156"/>
                </a:lnTo>
                <a:lnTo>
                  <a:pt x="7013797" y="5301456"/>
                </a:lnTo>
                <a:close/>
              </a:path>
              <a:path w="13852525" h="11308715">
                <a:moveTo>
                  <a:pt x="5966362" y="5149056"/>
                </a:moveTo>
                <a:lnTo>
                  <a:pt x="5127917" y="5314156"/>
                </a:lnTo>
                <a:lnTo>
                  <a:pt x="5431122" y="5606256"/>
                </a:lnTo>
                <a:lnTo>
                  <a:pt x="6269568" y="5441156"/>
                </a:lnTo>
                <a:lnTo>
                  <a:pt x="5966362" y="5149056"/>
                </a:lnTo>
                <a:close/>
              </a:path>
              <a:path w="13852525" h="11308715">
                <a:moveTo>
                  <a:pt x="10824828" y="5301456"/>
                </a:moveTo>
                <a:lnTo>
                  <a:pt x="7013912" y="5301456"/>
                </a:lnTo>
                <a:lnTo>
                  <a:pt x="7017210" y="5314156"/>
                </a:lnTo>
                <a:lnTo>
                  <a:pt x="7675389" y="5314156"/>
                </a:lnTo>
                <a:lnTo>
                  <a:pt x="7851561" y="5428456"/>
                </a:lnTo>
                <a:lnTo>
                  <a:pt x="7807228" y="5593556"/>
                </a:lnTo>
                <a:lnTo>
                  <a:pt x="10831212" y="5593556"/>
                </a:lnTo>
                <a:lnTo>
                  <a:pt x="10824828" y="5301456"/>
                </a:lnTo>
                <a:close/>
              </a:path>
              <a:path w="13852525" h="11308715">
                <a:moveTo>
                  <a:pt x="4160606" y="5060156"/>
                </a:moveTo>
                <a:lnTo>
                  <a:pt x="3208425" y="5428456"/>
                </a:lnTo>
                <a:lnTo>
                  <a:pt x="3453025" y="5568156"/>
                </a:lnTo>
                <a:lnTo>
                  <a:pt x="4405227" y="5187156"/>
                </a:lnTo>
                <a:lnTo>
                  <a:pt x="4160606" y="5060156"/>
                </a:lnTo>
                <a:close/>
              </a:path>
              <a:path w="13852525" h="11308715">
                <a:moveTo>
                  <a:pt x="12906926" y="3688556"/>
                </a:moveTo>
                <a:lnTo>
                  <a:pt x="12296149" y="4056856"/>
                </a:lnTo>
                <a:lnTo>
                  <a:pt x="12157399" y="5479256"/>
                </a:lnTo>
                <a:lnTo>
                  <a:pt x="12768176" y="5098256"/>
                </a:lnTo>
                <a:lnTo>
                  <a:pt x="12906926" y="3688556"/>
                </a:lnTo>
                <a:close/>
              </a:path>
              <a:path w="13852525" h="11308715">
                <a:moveTo>
                  <a:pt x="6925066" y="4971256"/>
                </a:moveTo>
                <a:lnTo>
                  <a:pt x="7017210" y="5314156"/>
                </a:lnTo>
                <a:lnTo>
                  <a:pt x="7013912" y="5301456"/>
                </a:lnTo>
                <a:lnTo>
                  <a:pt x="10824828" y="5301456"/>
                </a:lnTo>
                <a:lnTo>
                  <a:pt x="10823717" y="5250656"/>
                </a:lnTo>
                <a:lnTo>
                  <a:pt x="10448079" y="5250656"/>
                </a:lnTo>
                <a:lnTo>
                  <a:pt x="10425930" y="5174456"/>
                </a:lnTo>
                <a:lnTo>
                  <a:pt x="7634846" y="5174456"/>
                </a:lnTo>
                <a:lnTo>
                  <a:pt x="6925066" y="4971256"/>
                </a:lnTo>
                <a:close/>
              </a:path>
              <a:path w="13852525" h="11308715">
                <a:moveTo>
                  <a:pt x="11205803" y="4082256"/>
                </a:moveTo>
                <a:lnTo>
                  <a:pt x="10455922" y="4082256"/>
                </a:lnTo>
                <a:lnTo>
                  <a:pt x="10682669" y="5098256"/>
                </a:lnTo>
                <a:lnTo>
                  <a:pt x="10448079" y="5250656"/>
                </a:lnTo>
                <a:lnTo>
                  <a:pt x="10823717" y="5250656"/>
                </a:lnTo>
                <a:lnTo>
                  <a:pt x="10822885" y="5212556"/>
                </a:lnTo>
                <a:lnTo>
                  <a:pt x="11137440" y="4882356"/>
                </a:lnTo>
                <a:lnTo>
                  <a:pt x="11840169" y="4882356"/>
                </a:lnTo>
                <a:lnTo>
                  <a:pt x="11848798" y="4679156"/>
                </a:lnTo>
                <a:lnTo>
                  <a:pt x="11327529" y="4679156"/>
                </a:lnTo>
                <a:lnTo>
                  <a:pt x="11335665" y="4666456"/>
                </a:lnTo>
                <a:lnTo>
                  <a:pt x="11205803" y="4082256"/>
                </a:lnTo>
                <a:close/>
              </a:path>
              <a:path w="13852525" h="11308715">
                <a:moveTo>
                  <a:pt x="3575367" y="4729956"/>
                </a:moveTo>
                <a:lnTo>
                  <a:pt x="2545503" y="5085556"/>
                </a:lnTo>
                <a:lnTo>
                  <a:pt x="2721508" y="5174456"/>
                </a:lnTo>
                <a:lnTo>
                  <a:pt x="3751372" y="4818856"/>
                </a:lnTo>
                <a:lnTo>
                  <a:pt x="3575367" y="4729956"/>
                </a:lnTo>
                <a:close/>
              </a:path>
              <a:path w="13852525" h="11308715">
                <a:moveTo>
                  <a:pt x="7635599" y="4831556"/>
                </a:moveTo>
                <a:lnTo>
                  <a:pt x="7636510" y="5174456"/>
                </a:lnTo>
                <a:lnTo>
                  <a:pt x="10425930" y="5174456"/>
                </a:lnTo>
                <a:lnTo>
                  <a:pt x="10381632" y="5022056"/>
                </a:lnTo>
                <a:lnTo>
                  <a:pt x="7958396" y="5022056"/>
                </a:lnTo>
                <a:lnTo>
                  <a:pt x="7635599" y="4831556"/>
                </a:lnTo>
                <a:close/>
              </a:path>
              <a:path w="13852525" h="11308715">
                <a:moveTo>
                  <a:pt x="5880899" y="4704556"/>
                </a:moveTo>
                <a:lnTo>
                  <a:pt x="6089699" y="5047456"/>
                </a:lnTo>
                <a:lnTo>
                  <a:pt x="6911307" y="5098256"/>
                </a:lnTo>
                <a:lnTo>
                  <a:pt x="6702487" y="4742656"/>
                </a:lnTo>
                <a:lnTo>
                  <a:pt x="5880899" y="4704556"/>
                </a:lnTo>
                <a:close/>
              </a:path>
              <a:path w="13852525" h="11308715">
                <a:moveTo>
                  <a:pt x="5506209" y="4679156"/>
                </a:moveTo>
                <a:lnTo>
                  <a:pt x="4598540" y="4818856"/>
                </a:lnTo>
                <a:lnTo>
                  <a:pt x="4847496" y="5060156"/>
                </a:lnTo>
                <a:lnTo>
                  <a:pt x="5755175" y="4920456"/>
                </a:lnTo>
                <a:lnTo>
                  <a:pt x="5506209" y="4679156"/>
                </a:lnTo>
                <a:close/>
              </a:path>
              <a:path w="13852525" h="11308715">
                <a:moveTo>
                  <a:pt x="7623663" y="4145756"/>
                </a:moveTo>
                <a:lnTo>
                  <a:pt x="7625328" y="4539456"/>
                </a:lnTo>
                <a:lnTo>
                  <a:pt x="8015075" y="4806156"/>
                </a:lnTo>
                <a:lnTo>
                  <a:pt x="7958396" y="5022056"/>
                </a:lnTo>
                <a:lnTo>
                  <a:pt x="10381632" y="5022056"/>
                </a:lnTo>
                <a:lnTo>
                  <a:pt x="10267195" y="4628356"/>
                </a:lnTo>
                <a:lnTo>
                  <a:pt x="9859992" y="4628356"/>
                </a:lnTo>
                <a:lnTo>
                  <a:pt x="9760072" y="4463256"/>
                </a:lnTo>
                <a:lnTo>
                  <a:pt x="8084937" y="4463256"/>
                </a:lnTo>
                <a:lnTo>
                  <a:pt x="7623663" y="4145756"/>
                </a:lnTo>
                <a:close/>
              </a:path>
              <a:path w="13852525" h="11308715">
                <a:moveTo>
                  <a:pt x="6733763" y="4310856"/>
                </a:moveTo>
                <a:lnTo>
                  <a:pt x="6839582" y="4691856"/>
                </a:lnTo>
                <a:lnTo>
                  <a:pt x="7590302" y="4945856"/>
                </a:lnTo>
                <a:lnTo>
                  <a:pt x="7484484" y="4564856"/>
                </a:lnTo>
                <a:lnTo>
                  <a:pt x="6733763" y="4310856"/>
                </a:lnTo>
                <a:close/>
              </a:path>
              <a:path w="13852525" h="11308715">
                <a:moveTo>
                  <a:pt x="13851902" y="3078956"/>
                </a:moveTo>
                <a:lnTo>
                  <a:pt x="13451318" y="3332956"/>
                </a:lnTo>
                <a:lnTo>
                  <a:pt x="13229900" y="4844256"/>
                </a:lnTo>
                <a:lnTo>
                  <a:pt x="13729634" y="4526756"/>
                </a:lnTo>
                <a:lnTo>
                  <a:pt x="13851902" y="3688556"/>
                </a:lnTo>
                <a:lnTo>
                  <a:pt x="13851902" y="3078956"/>
                </a:lnTo>
                <a:close/>
              </a:path>
              <a:path w="13852525" h="11308715">
                <a:moveTo>
                  <a:pt x="2990128" y="4387056"/>
                </a:moveTo>
                <a:lnTo>
                  <a:pt x="1882560" y="4742656"/>
                </a:lnTo>
                <a:lnTo>
                  <a:pt x="1989928" y="4793456"/>
                </a:lnTo>
                <a:lnTo>
                  <a:pt x="3097518" y="4437856"/>
                </a:lnTo>
                <a:lnTo>
                  <a:pt x="2990128" y="4387056"/>
                </a:lnTo>
                <a:close/>
              </a:path>
              <a:path w="13852525" h="11308715">
                <a:moveTo>
                  <a:pt x="11862822" y="4348956"/>
                </a:moveTo>
                <a:lnTo>
                  <a:pt x="11327529" y="4679156"/>
                </a:lnTo>
                <a:lnTo>
                  <a:pt x="11848798" y="4679156"/>
                </a:lnTo>
                <a:lnTo>
                  <a:pt x="11862822" y="4348956"/>
                </a:lnTo>
                <a:close/>
              </a:path>
              <a:path w="13852525" h="11308715">
                <a:moveTo>
                  <a:pt x="10419085" y="3472656"/>
                </a:moveTo>
                <a:lnTo>
                  <a:pt x="9559876" y="3472656"/>
                </a:lnTo>
                <a:lnTo>
                  <a:pt x="10057473" y="4412456"/>
                </a:lnTo>
                <a:lnTo>
                  <a:pt x="9859992" y="4628356"/>
                </a:lnTo>
                <a:lnTo>
                  <a:pt x="10267195" y="4628356"/>
                </a:lnTo>
                <a:lnTo>
                  <a:pt x="10226589" y="4488656"/>
                </a:lnTo>
                <a:lnTo>
                  <a:pt x="10455922" y="4082256"/>
                </a:lnTo>
                <a:lnTo>
                  <a:pt x="11205803" y="4082256"/>
                </a:lnTo>
                <a:lnTo>
                  <a:pt x="11149342" y="3828256"/>
                </a:lnTo>
                <a:lnTo>
                  <a:pt x="10594494" y="3828256"/>
                </a:lnTo>
                <a:lnTo>
                  <a:pt x="10600441" y="3815556"/>
                </a:lnTo>
                <a:lnTo>
                  <a:pt x="10419085" y="3472656"/>
                </a:lnTo>
                <a:close/>
              </a:path>
              <a:path w="13852525" h="11308715">
                <a:moveTo>
                  <a:pt x="5046076" y="4209256"/>
                </a:moveTo>
                <a:lnTo>
                  <a:pt x="4069174" y="4323556"/>
                </a:lnTo>
                <a:lnTo>
                  <a:pt x="4263849" y="4501356"/>
                </a:lnTo>
                <a:lnTo>
                  <a:pt x="5240793" y="4399756"/>
                </a:lnTo>
                <a:lnTo>
                  <a:pt x="5046076" y="4209256"/>
                </a:lnTo>
                <a:close/>
              </a:path>
              <a:path w="13852525" h="11308715">
                <a:moveTo>
                  <a:pt x="5512868" y="4094956"/>
                </a:moveTo>
                <a:lnTo>
                  <a:pt x="5684591" y="4387056"/>
                </a:lnTo>
                <a:lnTo>
                  <a:pt x="6562805" y="4475956"/>
                </a:lnTo>
                <a:lnTo>
                  <a:pt x="6391082" y="4196556"/>
                </a:lnTo>
                <a:lnTo>
                  <a:pt x="5512868" y="4094956"/>
                </a:lnTo>
                <a:close/>
              </a:path>
              <a:path w="13852525" h="11308715">
                <a:moveTo>
                  <a:pt x="7611736" y="3472656"/>
                </a:moveTo>
                <a:lnTo>
                  <a:pt x="7613820" y="3790156"/>
                </a:lnTo>
                <a:lnTo>
                  <a:pt x="8154243" y="4209256"/>
                </a:lnTo>
                <a:lnTo>
                  <a:pt x="8084937" y="4463256"/>
                </a:lnTo>
                <a:lnTo>
                  <a:pt x="9760072" y="4463256"/>
                </a:lnTo>
                <a:lnTo>
                  <a:pt x="9583289" y="4171156"/>
                </a:lnTo>
                <a:lnTo>
                  <a:pt x="9105377" y="4171156"/>
                </a:lnTo>
                <a:lnTo>
                  <a:pt x="8844315" y="3929856"/>
                </a:lnTo>
                <a:lnTo>
                  <a:pt x="8225341" y="3929856"/>
                </a:lnTo>
                <a:lnTo>
                  <a:pt x="7611736" y="3472656"/>
                </a:lnTo>
                <a:close/>
              </a:path>
              <a:path w="13852525" h="11308715">
                <a:moveTo>
                  <a:pt x="2404879" y="4056856"/>
                </a:moveTo>
                <a:lnTo>
                  <a:pt x="1219606" y="4387056"/>
                </a:lnTo>
                <a:lnTo>
                  <a:pt x="1258380" y="4412456"/>
                </a:lnTo>
                <a:lnTo>
                  <a:pt x="2443632" y="4069556"/>
                </a:lnTo>
                <a:lnTo>
                  <a:pt x="2404879" y="4056856"/>
                </a:lnTo>
                <a:close/>
              </a:path>
              <a:path w="13852525" h="11308715">
                <a:moveTo>
                  <a:pt x="11917783" y="2418556"/>
                </a:moveTo>
                <a:lnTo>
                  <a:pt x="11404218" y="2964656"/>
                </a:lnTo>
                <a:lnTo>
                  <a:pt x="11638347" y="4387056"/>
                </a:lnTo>
                <a:lnTo>
                  <a:pt x="12151912" y="3853656"/>
                </a:lnTo>
                <a:lnTo>
                  <a:pt x="11917783" y="2418556"/>
                </a:lnTo>
                <a:close/>
              </a:path>
              <a:path w="13852525" h="11308715">
                <a:moveTo>
                  <a:pt x="6542429" y="3637756"/>
                </a:moveTo>
                <a:lnTo>
                  <a:pt x="6629840" y="3955256"/>
                </a:lnTo>
                <a:lnTo>
                  <a:pt x="7421512" y="4272756"/>
                </a:lnTo>
                <a:lnTo>
                  <a:pt x="7334111" y="3955256"/>
                </a:lnTo>
                <a:lnTo>
                  <a:pt x="6542429" y="3637756"/>
                </a:lnTo>
                <a:close/>
              </a:path>
              <a:path w="13852525" h="11308715">
                <a:moveTo>
                  <a:pt x="8675913" y="2151856"/>
                </a:moveTo>
                <a:lnTo>
                  <a:pt x="8439135" y="3053556"/>
                </a:lnTo>
                <a:lnTo>
                  <a:pt x="9249467" y="3917156"/>
                </a:lnTo>
                <a:lnTo>
                  <a:pt x="9105377" y="4171156"/>
                </a:lnTo>
                <a:lnTo>
                  <a:pt x="9583289" y="4171156"/>
                </a:lnTo>
                <a:lnTo>
                  <a:pt x="9437251" y="3929856"/>
                </a:lnTo>
                <a:lnTo>
                  <a:pt x="9559876" y="3472656"/>
                </a:lnTo>
                <a:lnTo>
                  <a:pt x="10419085" y="3472656"/>
                </a:lnTo>
                <a:lnTo>
                  <a:pt x="10271313" y="3193256"/>
                </a:lnTo>
                <a:lnTo>
                  <a:pt x="9633989" y="3193256"/>
                </a:lnTo>
                <a:lnTo>
                  <a:pt x="9637151" y="3180556"/>
                </a:lnTo>
                <a:lnTo>
                  <a:pt x="8675913" y="2151856"/>
                </a:lnTo>
                <a:close/>
              </a:path>
              <a:path w="13852525" h="11308715">
                <a:moveTo>
                  <a:pt x="4585933" y="3739356"/>
                </a:moveTo>
                <a:lnTo>
                  <a:pt x="3539797" y="3828256"/>
                </a:lnTo>
                <a:lnTo>
                  <a:pt x="3680254" y="3955256"/>
                </a:lnTo>
                <a:lnTo>
                  <a:pt x="4726390" y="3879056"/>
                </a:lnTo>
                <a:lnTo>
                  <a:pt x="4585933" y="3739356"/>
                </a:lnTo>
                <a:close/>
              </a:path>
              <a:path w="13852525" h="11308715">
                <a:moveTo>
                  <a:pt x="8349672" y="3472656"/>
                </a:moveTo>
                <a:lnTo>
                  <a:pt x="8225341" y="3929856"/>
                </a:lnTo>
                <a:lnTo>
                  <a:pt x="8844315" y="3929856"/>
                </a:lnTo>
                <a:lnTo>
                  <a:pt x="8349672" y="3472656"/>
                </a:lnTo>
                <a:close/>
              </a:path>
              <a:path w="13852525" h="11308715">
                <a:moveTo>
                  <a:pt x="5144827" y="3485356"/>
                </a:moveTo>
                <a:lnTo>
                  <a:pt x="5279462" y="3713956"/>
                </a:lnTo>
                <a:lnTo>
                  <a:pt x="6214302" y="3853656"/>
                </a:lnTo>
                <a:lnTo>
                  <a:pt x="6079668" y="3637756"/>
                </a:lnTo>
                <a:lnTo>
                  <a:pt x="5144827" y="3485356"/>
                </a:lnTo>
                <a:close/>
              </a:path>
              <a:path w="13852525" h="11308715">
                <a:moveTo>
                  <a:pt x="11044888" y="3358356"/>
                </a:moveTo>
                <a:lnTo>
                  <a:pt x="10594494" y="3828256"/>
                </a:lnTo>
                <a:lnTo>
                  <a:pt x="11149342" y="3828256"/>
                </a:lnTo>
                <a:lnTo>
                  <a:pt x="11044888" y="3358356"/>
                </a:lnTo>
                <a:close/>
              </a:path>
              <a:path w="13852525" h="11308715">
                <a:moveTo>
                  <a:pt x="7599810" y="2786856"/>
                </a:moveTo>
                <a:lnTo>
                  <a:pt x="7602313" y="3040856"/>
                </a:lnTo>
                <a:lnTo>
                  <a:pt x="8282857" y="3612356"/>
                </a:lnTo>
                <a:lnTo>
                  <a:pt x="8280355" y="3358356"/>
                </a:lnTo>
                <a:lnTo>
                  <a:pt x="7599810" y="2786856"/>
                </a:lnTo>
                <a:close/>
              </a:path>
              <a:path w="13852525" h="11308715">
                <a:moveTo>
                  <a:pt x="6351115" y="2977356"/>
                </a:moveTo>
                <a:lnTo>
                  <a:pt x="6420118" y="3218656"/>
                </a:lnTo>
                <a:lnTo>
                  <a:pt x="7252732" y="3599656"/>
                </a:lnTo>
                <a:lnTo>
                  <a:pt x="7183739" y="3345656"/>
                </a:lnTo>
                <a:lnTo>
                  <a:pt x="6351115" y="2977356"/>
                </a:lnTo>
                <a:close/>
              </a:path>
              <a:path w="13852525" h="11308715">
                <a:moveTo>
                  <a:pt x="12790678" y="1491456"/>
                </a:moveTo>
                <a:lnTo>
                  <a:pt x="12370890" y="1923256"/>
                </a:lnTo>
                <a:lnTo>
                  <a:pt x="12548382" y="3472656"/>
                </a:lnTo>
                <a:lnTo>
                  <a:pt x="12968181" y="3040856"/>
                </a:lnTo>
                <a:lnTo>
                  <a:pt x="12790678" y="1491456"/>
                </a:lnTo>
                <a:close/>
              </a:path>
              <a:path w="13852525" h="11308715">
                <a:moveTo>
                  <a:pt x="10591646" y="1453356"/>
                </a:moveTo>
                <a:lnTo>
                  <a:pt x="10217657" y="2113756"/>
                </a:lnTo>
                <a:lnTo>
                  <a:pt x="10830727" y="3459956"/>
                </a:lnTo>
                <a:lnTo>
                  <a:pt x="11204716" y="2799556"/>
                </a:lnTo>
                <a:lnTo>
                  <a:pt x="10591646" y="1453356"/>
                </a:lnTo>
                <a:close/>
              </a:path>
              <a:path w="13852525" h="11308715">
                <a:moveTo>
                  <a:pt x="4125801" y="3282156"/>
                </a:moveTo>
                <a:lnTo>
                  <a:pt x="3010421" y="3332956"/>
                </a:lnTo>
                <a:lnTo>
                  <a:pt x="3096628" y="3409156"/>
                </a:lnTo>
                <a:lnTo>
                  <a:pt x="4212018" y="3358356"/>
                </a:lnTo>
                <a:lnTo>
                  <a:pt x="4125801" y="3282156"/>
                </a:lnTo>
                <a:close/>
              </a:path>
              <a:path w="13852525" h="11308715">
                <a:moveTo>
                  <a:pt x="4776796" y="2888456"/>
                </a:moveTo>
                <a:lnTo>
                  <a:pt x="4874343" y="3040856"/>
                </a:lnTo>
                <a:lnTo>
                  <a:pt x="5865810" y="3231356"/>
                </a:lnTo>
                <a:lnTo>
                  <a:pt x="5768264" y="3078956"/>
                </a:lnTo>
                <a:lnTo>
                  <a:pt x="4776796" y="2888456"/>
                </a:lnTo>
                <a:close/>
              </a:path>
              <a:path w="13852525" h="11308715">
                <a:moveTo>
                  <a:pt x="9962335" y="2609056"/>
                </a:moveTo>
                <a:lnTo>
                  <a:pt x="9633989" y="3193256"/>
                </a:lnTo>
                <a:lnTo>
                  <a:pt x="10271313" y="3193256"/>
                </a:lnTo>
                <a:lnTo>
                  <a:pt x="9962335" y="2609056"/>
                </a:lnTo>
                <a:close/>
              </a:path>
              <a:path w="13852525" h="11308715">
                <a:moveTo>
                  <a:pt x="7587884" y="2113756"/>
                </a:moveTo>
                <a:lnTo>
                  <a:pt x="7590805" y="2291556"/>
                </a:lnTo>
                <a:lnTo>
                  <a:pt x="8294784" y="2926556"/>
                </a:lnTo>
                <a:lnTo>
                  <a:pt x="8291862" y="2736056"/>
                </a:lnTo>
                <a:lnTo>
                  <a:pt x="7587884" y="2113756"/>
                </a:lnTo>
                <a:close/>
              </a:path>
              <a:path w="13852525" h="11308715">
                <a:moveTo>
                  <a:pt x="6159801" y="2304256"/>
                </a:moveTo>
                <a:lnTo>
                  <a:pt x="6210376" y="2482056"/>
                </a:lnTo>
                <a:lnTo>
                  <a:pt x="7083951" y="2913856"/>
                </a:lnTo>
                <a:lnTo>
                  <a:pt x="7033366" y="2736056"/>
                </a:lnTo>
                <a:lnTo>
                  <a:pt x="6159801" y="2304256"/>
                </a:lnTo>
                <a:close/>
              </a:path>
              <a:path w="13852525" h="11308715">
                <a:moveTo>
                  <a:pt x="3665658" y="2812256"/>
                </a:moveTo>
                <a:lnTo>
                  <a:pt x="2481055" y="2837656"/>
                </a:lnTo>
                <a:lnTo>
                  <a:pt x="2512981" y="2863056"/>
                </a:lnTo>
                <a:lnTo>
                  <a:pt x="3697615" y="2837656"/>
                </a:lnTo>
                <a:lnTo>
                  <a:pt x="3665658" y="2812256"/>
                </a:lnTo>
                <a:close/>
              </a:path>
              <a:path w="13852525" h="11308715">
                <a:moveTo>
                  <a:pt x="9002134" y="843756"/>
                </a:moveTo>
                <a:lnTo>
                  <a:pt x="8802779" y="1605756"/>
                </a:lnTo>
                <a:lnTo>
                  <a:pt x="9774309" y="2761456"/>
                </a:lnTo>
                <a:lnTo>
                  <a:pt x="9973675" y="2012156"/>
                </a:lnTo>
                <a:lnTo>
                  <a:pt x="9002134" y="843756"/>
                </a:lnTo>
                <a:close/>
              </a:path>
              <a:path w="13852525" h="11308715">
                <a:moveTo>
                  <a:pt x="4408755" y="2278856"/>
                </a:moveTo>
                <a:lnTo>
                  <a:pt x="4469235" y="2380456"/>
                </a:lnTo>
                <a:lnTo>
                  <a:pt x="5517318" y="2609056"/>
                </a:lnTo>
                <a:lnTo>
                  <a:pt x="5456849" y="2520156"/>
                </a:lnTo>
                <a:lnTo>
                  <a:pt x="4408755" y="2278856"/>
                </a:lnTo>
                <a:close/>
              </a:path>
              <a:path w="13852525" h="11308715">
                <a:moveTo>
                  <a:pt x="11220946" y="284956"/>
                </a:moveTo>
                <a:lnTo>
                  <a:pt x="10915740" y="843756"/>
                </a:lnTo>
                <a:lnTo>
                  <a:pt x="11503785" y="2316956"/>
                </a:lnTo>
                <a:lnTo>
                  <a:pt x="11808991" y="1770856"/>
                </a:lnTo>
                <a:lnTo>
                  <a:pt x="11220946" y="284956"/>
                </a:lnTo>
                <a:close/>
              </a:path>
              <a:path w="13852525" h="11308715">
                <a:moveTo>
                  <a:pt x="5968477" y="1643856"/>
                </a:moveTo>
                <a:lnTo>
                  <a:pt x="6000644" y="1745456"/>
                </a:lnTo>
                <a:lnTo>
                  <a:pt x="6915171" y="2240756"/>
                </a:lnTo>
                <a:lnTo>
                  <a:pt x="6883015" y="2126456"/>
                </a:lnTo>
                <a:lnTo>
                  <a:pt x="5968477" y="1643856"/>
                </a:lnTo>
                <a:close/>
              </a:path>
              <a:path w="13852525" h="11308715">
                <a:moveTo>
                  <a:pt x="7575968" y="1427956"/>
                </a:moveTo>
                <a:lnTo>
                  <a:pt x="7579298" y="1542256"/>
                </a:lnTo>
                <a:lnTo>
                  <a:pt x="8306699" y="2240756"/>
                </a:lnTo>
                <a:lnTo>
                  <a:pt x="8303370" y="2126456"/>
                </a:lnTo>
                <a:lnTo>
                  <a:pt x="7575968" y="1427956"/>
                </a:lnTo>
                <a:close/>
              </a:path>
              <a:path w="13852525" h="11308715">
                <a:moveTo>
                  <a:pt x="4040735" y="1669256"/>
                </a:moveTo>
                <a:lnTo>
                  <a:pt x="4064096" y="1707356"/>
                </a:lnTo>
                <a:lnTo>
                  <a:pt x="5168826" y="1986756"/>
                </a:lnTo>
                <a:lnTo>
                  <a:pt x="5145445" y="1961356"/>
                </a:lnTo>
                <a:lnTo>
                  <a:pt x="4040735" y="1669256"/>
                </a:lnTo>
                <a:close/>
              </a:path>
              <a:path w="13852525" h="11308715">
                <a:moveTo>
                  <a:pt x="5777164" y="970756"/>
                </a:moveTo>
                <a:lnTo>
                  <a:pt x="5790923" y="1008856"/>
                </a:lnTo>
                <a:lnTo>
                  <a:pt x="6746391" y="1554956"/>
                </a:lnTo>
                <a:lnTo>
                  <a:pt x="6732643" y="1529556"/>
                </a:lnTo>
                <a:lnTo>
                  <a:pt x="5777164" y="970756"/>
                </a:lnTo>
                <a:close/>
              </a:path>
              <a:path w="13852525" h="11308715">
                <a:moveTo>
                  <a:pt x="7564041" y="754856"/>
                </a:moveTo>
                <a:lnTo>
                  <a:pt x="7567790" y="792956"/>
                </a:lnTo>
                <a:lnTo>
                  <a:pt x="8318636" y="1554956"/>
                </a:lnTo>
                <a:lnTo>
                  <a:pt x="8314888" y="1516856"/>
                </a:lnTo>
                <a:lnTo>
                  <a:pt x="7564041" y="754856"/>
                </a:lnTo>
                <a:close/>
              </a:path>
              <a:path w="13852525" h="11308715">
                <a:moveTo>
                  <a:pt x="9684684" y="5556"/>
                </a:moveTo>
                <a:lnTo>
                  <a:pt x="9205378" y="5556"/>
                </a:lnTo>
                <a:lnTo>
                  <a:pt x="9166401" y="157956"/>
                </a:lnTo>
                <a:lnTo>
                  <a:pt x="10148214" y="1453356"/>
                </a:lnTo>
                <a:lnTo>
                  <a:pt x="10310167" y="831056"/>
                </a:lnTo>
                <a:lnTo>
                  <a:pt x="9684684" y="5556"/>
                </a:lnTo>
                <a:close/>
              </a:path>
              <a:path w="13852525" h="11308715">
                <a:moveTo>
                  <a:pt x="12155392" y="5556"/>
                </a:moveTo>
                <a:lnTo>
                  <a:pt x="11769899" y="5556"/>
                </a:lnTo>
                <a:lnTo>
                  <a:pt x="12176843" y="1173956"/>
                </a:lnTo>
                <a:lnTo>
                  <a:pt x="12413266" y="742156"/>
                </a:lnTo>
                <a:lnTo>
                  <a:pt x="12155392" y="5556"/>
                </a:lnTo>
                <a:close/>
              </a:path>
              <a:path w="13852525" h="11308715">
                <a:moveTo>
                  <a:pt x="10558529" y="5556"/>
                </a:moveTo>
                <a:lnTo>
                  <a:pt x="10424416" y="5556"/>
                </a:lnTo>
                <a:lnTo>
                  <a:pt x="10522108" y="145256"/>
                </a:lnTo>
                <a:lnTo>
                  <a:pt x="10558529" y="5556"/>
                </a:lnTo>
                <a:close/>
              </a:path>
            </a:pathLst>
          </a:custGeom>
          <a:solidFill>
            <a:srgbClr val="1A0F5C">
              <a:alpha val="5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FDD0999-C447-FB95-885F-11AEB8E057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908" y="1714110"/>
            <a:ext cx="1840546" cy="610478"/>
          </a:xfrm>
          <a:prstGeom prst="rect">
            <a:avLst/>
          </a:prstGeom>
        </p:spPr>
      </p:pic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D736775F-6A19-332A-FFBC-2EEB2D6F69E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411629" y="5850238"/>
            <a:ext cx="2396464" cy="63286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4F147EF-0B5A-890C-78C4-EEFA44DDF203}"/>
              </a:ext>
            </a:extLst>
          </p:cNvPr>
          <p:cNvSpPr txBox="1"/>
          <p:nvPr userDrawn="1"/>
        </p:nvSpPr>
        <p:spPr>
          <a:xfrm>
            <a:off x="383907" y="6267664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mangroup.com</a:t>
            </a:r>
            <a:endParaRPr lang="en-GB" sz="800" spc="55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C3DA2D15-314E-430B-A8B1-76E7ED1423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3908" y="4082988"/>
            <a:ext cx="3519877" cy="3385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2C447720-08D5-4B8A-BAE4-B98EB719B5F1}" type="datetime3">
              <a:rPr lang="en-US" smtClean="0"/>
              <a:t>23 September 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4944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art action and resul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21D9686-D61C-E3FA-D9D1-21E3EC958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512CF03-D66D-4D74-84B4-1EA1A76822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1000" y="1749425"/>
            <a:ext cx="6858000" cy="274320"/>
          </a:xfrm>
        </p:spPr>
        <p:txBody>
          <a:bodyPr tIns="45720" anchor="t">
            <a:noAutofit/>
          </a:bodyPr>
          <a:lstStyle>
            <a:lvl1pPr marL="0" indent="0"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A796000-C557-4E7F-995F-76BEDD8AC99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696200" y="1749425"/>
            <a:ext cx="4114800" cy="274320"/>
          </a:xfrm>
        </p:spPr>
        <p:txBody>
          <a:bodyPr tIns="45720" anchor="t">
            <a:noAutofit/>
          </a:bodyPr>
          <a:lstStyle>
            <a:lvl1pPr marL="0" indent="0"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6F900C4-405C-454A-81EA-4FC1885A63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1000" y="2181637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62643F1E-76F9-442A-B8AD-BE6A6EB4207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641207" y="2181637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927C6C5-504D-432A-9BD7-45C613B85F7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96200" y="2181637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97A4ED5-09F6-4AC5-B3A5-FD24DC7461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0" y="3004653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EE95F459-E185-4546-8C80-020A402DB22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641207" y="3004653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77DC317-11BF-486F-A388-FAD12B1AE21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96200" y="3004653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79396707-D59D-4E31-8254-C1705CE2FA2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1000" y="3827669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95D79A87-1447-4A86-951C-CA234F784B3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641207" y="3827669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7EDA6C5-4C2D-4BB8-9876-4D833AC8E94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696200" y="3827669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89C41724-B810-40DF-B21C-7339CC94BC9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1000" y="4650685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139A1ACD-75F1-4441-A0DB-901412348C6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641207" y="4650685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0CB098D-5E0D-4A19-BC00-AE505E3DB7C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96200" y="4650685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D0FB2364-CFBD-4EE3-BDB9-9EEFA34847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1000" y="5473700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1139AAF7-1B76-4259-B3D7-661E1F3C93C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641207" y="5473700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676491DB-0C2E-4812-9D5C-6BCA7723FD7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696200" y="5473700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018A2A-AA09-8E73-1A10-68723CDBF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6" name="Text Placeholder 33">
            <a:extLst>
              <a:ext uri="{FF2B5EF4-FFF2-40B4-BE49-F238E27FC236}">
                <a16:creationId xmlns:a16="http://schemas.microsoft.com/office/drawing/2014/main" id="{7B373DA1-EE0E-40AC-A266-BBB7F53A396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 rot="5400000" flipH="1">
            <a:off x="7136906" y="2454688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4A2A1A34-D52D-48FF-AD62-A25E52FB122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 flipH="1">
            <a:off x="7136906" y="3274405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D19256F3-2F9A-4BB4-9D4E-F4875722DB4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5400000" flipH="1">
            <a:off x="7136906" y="4094122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337D84D3-3CB5-488A-ACEF-978A1569D8D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5400000" flipH="1">
            <a:off x="7136906" y="4913839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EEA7829B-5B85-4045-9F1C-B7C185E2DF4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 rot="5400000" flipH="1">
            <a:off x="7136906" y="5733557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6105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4_Two part action and resul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C52CABD9-F1FB-1BB2-1626-0C1DFA7770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9613993-9D9F-5289-7DF2-83E3549ED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58B9C44-67A1-F19A-2F90-8D163C4BCE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1000" y="1749425"/>
            <a:ext cx="6858000" cy="274320"/>
          </a:xfrm>
        </p:spPr>
        <p:txBody>
          <a:bodyPr tIns="45720" anchor="t">
            <a:noAutofit/>
          </a:bodyPr>
          <a:lstStyle>
            <a:lvl1pPr marL="0" indent="0"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33E1813-119B-F20B-6245-2B1293AEBFA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696200" y="1749425"/>
            <a:ext cx="4114800" cy="274320"/>
          </a:xfrm>
        </p:spPr>
        <p:txBody>
          <a:bodyPr tIns="45720" anchor="t">
            <a:noAutofit/>
          </a:bodyPr>
          <a:lstStyle>
            <a:lvl1pPr marL="0" indent="0"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2DA6305-14EF-58A7-D4A9-53DF9F80464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96200" y="2181637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2A1CD0D-D016-7206-D06A-2F07D0C457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96200" y="3004653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6910E45-C528-843E-E68C-96381B332C8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696200" y="3827669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4EAEBFB-1FC7-20E0-2AF9-DF1DE42449B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96200" y="4650685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51EDD64-FBB9-AC9B-0D49-1C0778F2764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696200" y="5473700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EEEDCDFB-8BFA-E782-A4FE-F57140A82D4D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81000" y="2181637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0490B643-0E6F-61C3-B22E-B373203F25B9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381000" y="3004653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947C2B64-F15F-E98D-12A4-0BE98D5CDDD3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81000" y="3827669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7A29A00E-12C5-4793-95DB-72DB4148ED0B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81000" y="4650685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5462CFCE-2CA7-9DA4-54BC-0A51F2736FE2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81000" y="5473700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CBCD294F-BC81-4BDC-8BB1-094D4D81B14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 rot="5400000" flipH="1">
            <a:off x="7136906" y="2454688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32ECDF77-2C22-4C0D-9D55-3035E0A755A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 rot="5400000" flipH="1">
            <a:off x="7136906" y="3274405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5" name="Text Placeholder 33">
            <a:extLst>
              <a:ext uri="{FF2B5EF4-FFF2-40B4-BE49-F238E27FC236}">
                <a16:creationId xmlns:a16="http://schemas.microsoft.com/office/drawing/2014/main" id="{29DC7404-43FF-4B4D-9E8D-8A8B73D38E3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 rot="5400000" flipH="1">
            <a:off x="7136906" y="4094122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6" name="Text Placeholder 33">
            <a:extLst>
              <a:ext uri="{FF2B5EF4-FFF2-40B4-BE49-F238E27FC236}">
                <a16:creationId xmlns:a16="http://schemas.microsoft.com/office/drawing/2014/main" id="{1DF62F19-4861-4FE3-8611-11A886CDEE0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5400000" flipH="1">
            <a:off x="7136906" y="4913839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7" name="Text Placeholder 33">
            <a:extLst>
              <a:ext uri="{FF2B5EF4-FFF2-40B4-BE49-F238E27FC236}">
                <a16:creationId xmlns:a16="http://schemas.microsoft.com/office/drawing/2014/main" id="{636E88C3-4213-4CBC-BA6E-A568099F3AC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 rot="5400000" flipH="1">
            <a:off x="7136906" y="5733557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98346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wo part action and resul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21D9686-D61C-E3FA-D9D1-21E3EC958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512CF03-D66D-4D74-84B4-1EA1A76822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1000" y="1749425"/>
            <a:ext cx="6858000" cy="274320"/>
          </a:xfrm>
        </p:spPr>
        <p:txBody>
          <a:bodyPr tIns="45720" anchor="t">
            <a:no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A796000-C557-4E7F-995F-76BEDD8AC99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696200" y="1749425"/>
            <a:ext cx="4114800" cy="274320"/>
          </a:xfrm>
        </p:spPr>
        <p:txBody>
          <a:bodyPr tIns="45720" anchor="t">
            <a:no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70996-A4F8-449B-B340-983A6DBC894C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81000" y="2181637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62643F1E-76F9-442A-B8AD-BE6A6EB4207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641207" y="2181637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927C6C5-504D-432A-9BD7-45C613B85F7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96200" y="2181637"/>
            <a:ext cx="4114800" cy="685800"/>
          </a:xfrm>
        </p:spPr>
        <p:txBody>
          <a:bodyPr tIns="0" anchor="ctr">
            <a:norm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74615E4E-BED6-4C53-B144-CF882C2FA46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381000" y="3004653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EE95F459-E185-4546-8C80-020A402DB22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641207" y="3004653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77DC317-11BF-486F-A388-FAD12B1AE21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96200" y="3004653"/>
            <a:ext cx="4114800" cy="685800"/>
          </a:xfrm>
        </p:spPr>
        <p:txBody>
          <a:bodyPr tIns="0" anchor="ctr">
            <a:norm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Picture Placeholder 2">
            <a:extLst>
              <a:ext uri="{FF2B5EF4-FFF2-40B4-BE49-F238E27FC236}">
                <a16:creationId xmlns:a16="http://schemas.microsoft.com/office/drawing/2014/main" id="{249F7BF1-EA28-4401-A283-1F22667C13A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81000" y="3827669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95D79A87-1447-4A86-951C-CA234F784B3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641207" y="3827669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7EDA6C5-4C2D-4BB8-9876-4D833AC8E94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696200" y="3827669"/>
            <a:ext cx="4114800" cy="685800"/>
          </a:xfrm>
        </p:spPr>
        <p:txBody>
          <a:bodyPr tIns="0" anchor="ctr">
            <a:norm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AA8A5F31-9D52-42DF-BA9B-F65F5293264A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81000" y="4650685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139A1ACD-75F1-4441-A0DB-901412348C6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641207" y="4650685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0CB098D-5E0D-4A19-BC00-AE505E3DB7C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96200" y="4650685"/>
            <a:ext cx="4114800" cy="685800"/>
          </a:xfrm>
        </p:spPr>
        <p:txBody>
          <a:bodyPr tIns="0" anchor="ctr">
            <a:norm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77ED4AAD-A9EA-4EF0-80DC-97350707DB1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81000" y="5473700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1139AAF7-1B76-4259-B3D7-661E1F3C93C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641207" y="5473700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676491DB-0C2E-4812-9D5C-6BCA7723FD7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696200" y="5473700"/>
            <a:ext cx="4114800" cy="685800"/>
          </a:xfrm>
        </p:spPr>
        <p:txBody>
          <a:bodyPr tIns="0" anchor="ctr">
            <a:norm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429169CD-DA8D-4C23-8F64-2CDCF3497FA1}"/>
              </a:ext>
            </a:extLst>
          </p:cNvPr>
          <p:cNvSpPr/>
          <p:nvPr userDrawn="1"/>
        </p:nvSpPr>
        <p:spPr>
          <a:xfrm rot="5400000">
            <a:off x="7136906" y="2454688"/>
            <a:ext cx="712187" cy="139698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5" name="Isosceles Triangle 44">
            <a:extLst>
              <a:ext uri="{FF2B5EF4-FFF2-40B4-BE49-F238E27FC236}">
                <a16:creationId xmlns:a16="http://schemas.microsoft.com/office/drawing/2014/main" id="{1592CE64-9654-45B2-8AC9-D669D961B4E1}"/>
              </a:ext>
            </a:extLst>
          </p:cNvPr>
          <p:cNvSpPr/>
          <p:nvPr userDrawn="1"/>
        </p:nvSpPr>
        <p:spPr>
          <a:xfrm rot="5400000">
            <a:off x="7136906" y="3274405"/>
            <a:ext cx="712187" cy="139698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80FFE2C3-79D1-48F2-AF54-2E690202A016}"/>
              </a:ext>
            </a:extLst>
          </p:cNvPr>
          <p:cNvSpPr/>
          <p:nvPr userDrawn="1"/>
        </p:nvSpPr>
        <p:spPr>
          <a:xfrm rot="5400000">
            <a:off x="7136906" y="4094122"/>
            <a:ext cx="712187" cy="139698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7" name="Isosceles Triangle 46">
            <a:extLst>
              <a:ext uri="{FF2B5EF4-FFF2-40B4-BE49-F238E27FC236}">
                <a16:creationId xmlns:a16="http://schemas.microsoft.com/office/drawing/2014/main" id="{C5AE279A-BB08-432F-BBA7-44CB03317E10}"/>
              </a:ext>
            </a:extLst>
          </p:cNvPr>
          <p:cNvSpPr/>
          <p:nvPr userDrawn="1"/>
        </p:nvSpPr>
        <p:spPr>
          <a:xfrm rot="5400000">
            <a:off x="7136906" y="4913839"/>
            <a:ext cx="712187" cy="139698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8" name="Isosceles Triangle 47">
            <a:extLst>
              <a:ext uri="{FF2B5EF4-FFF2-40B4-BE49-F238E27FC236}">
                <a16:creationId xmlns:a16="http://schemas.microsoft.com/office/drawing/2014/main" id="{0EB4584D-9B06-4BB2-B971-BA987A0DEAFA}"/>
              </a:ext>
            </a:extLst>
          </p:cNvPr>
          <p:cNvSpPr/>
          <p:nvPr userDrawn="1"/>
        </p:nvSpPr>
        <p:spPr>
          <a:xfrm rot="5400000">
            <a:off x="7136906" y="5733557"/>
            <a:ext cx="712187" cy="139698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12C692-5886-DB72-F174-06C0B46629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65516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plit -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C6E1C4F-6A0A-E048-517F-DE70EFB0D1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0E87CA4-DF8B-A4B2-C104-A83381D204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812131" y="2108200"/>
            <a:ext cx="823912" cy="8239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FCC34BF6-3093-6B2E-E777-84264269CA9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84044" y="2118266"/>
            <a:ext cx="823912" cy="8239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D9F3BDAD-C8AA-5417-4BAB-2ACE29EC05D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555956" y="2118266"/>
            <a:ext cx="823912" cy="8239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E1AA924-420F-3F2E-AD54-8F437A89B1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3221391"/>
            <a:ext cx="3686175" cy="415925"/>
          </a:xfrm>
          <a:prstGeom prst="parallelogram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07DFCC3D-79B1-B2C2-E5FE-DBB8CCD7D52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2912" y="3221391"/>
            <a:ext cx="3686175" cy="415925"/>
          </a:xfrm>
          <a:prstGeom prst="parallelogram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79B55756-003A-46FE-BC73-669E725E11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4825" y="3221391"/>
            <a:ext cx="3686175" cy="415925"/>
          </a:xfrm>
          <a:prstGeom prst="parallelogram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A7486A-BA2F-47B0-B17B-07CF50190F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1000" y="3816836"/>
            <a:ext cx="3541321" cy="1698593"/>
          </a:xfrm>
        </p:spPr>
        <p:txBody>
          <a:bodyPr lIns="0" tIns="0" rIns="0" bIns="0">
            <a:norm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EC6CD97-5EED-4819-81CE-B94BB95F9DA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52912" y="3816836"/>
            <a:ext cx="3541321" cy="1698593"/>
          </a:xfrm>
        </p:spPr>
        <p:txBody>
          <a:bodyPr lIns="0" tIns="0" rIns="0" bIns="0">
            <a:norm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04792009-834D-4287-8EAF-781BE9D027D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24825" y="3816836"/>
            <a:ext cx="3541321" cy="1698593"/>
          </a:xfrm>
        </p:spPr>
        <p:txBody>
          <a:bodyPr lIns="0" tIns="0" rIns="0" bIns="0">
            <a:norm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805833-1A1E-7B64-6C5F-03745732D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0603934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split -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B897E263-ECEB-EE83-7268-E374F16AA264}"/>
              </a:ext>
            </a:extLst>
          </p:cNvPr>
          <p:cNvGrpSpPr/>
          <p:nvPr userDrawn="1"/>
        </p:nvGrpSpPr>
        <p:grpSpPr>
          <a:xfrm>
            <a:off x="381000" y="1872371"/>
            <a:ext cx="11430000" cy="3468510"/>
            <a:chOff x="383568" y="1872371"/>
            <a:chExt cx="11461750" cy="3468510"/>
          </a:xfrm>
        </p:grpSpPr>
        <p:grpSp>
          <p:nvGrpSpPr>
            <p:cNvPr id="21" name="object 4">
              <a:extLst>
                <a:ext uri="{FF2B5EF4-FFF2-40B4-BE49-F238E27FC236}">
                  <a16:creationId xmlns:a16="http://schemas.microsoft.com/office/drawing/2014/main" id="{F7A370E8-9642-AF54-D44B-CDEDF2FD7EED}"/>
                </a:ext>
              </a:extLst>
            </p:cNvPr>
            <p:cNvGrpSpPr/>
            <p:nvPr/>
          </p:nvGrpSpPr>
          <p:grpSpPr>
            <a:xfrm>
              <a:off x="383568" y="3351205"/>
              <a:ext cx="2954072" cy="1989161"/>
              <a:chOff x="1585475" y="5701396"/>
              <a:chExt cx="4362450" cy="2937510"/>
            </a:xfrm>
          </p:grpSpPr>
          <p:sp>
            <p:nvSpPr>
              <p:cNvPr id="58" name="object 5">
                <a:extLst>
                  <a:ext uri="{FF2B5EF4-FFF2-40B4-BE49-F238E27FC236}">
                    <a16:creationId xmlns:a16="http://schemas.microsoft.com/office/drawing/2014/main" id="{1BF65D0E-0627-F234-B1E9-DAF71F8731CB}"/>
                  </a:ext>
                </a:extLst>
              </p:cNvPr>
              <p:cNvSpPr/>
              <p:nvPr/>
            </p:nvSpPr>
            <p:spPr>
              <a:xfrm>
                <a:off x="1627358" y="5805739"/>
                <a:ext cx="0" cy="2467610"/>
              </a:xfrm>
              <a:custGeom>
                <a:avLst/>
                <a:gdLst/>
                <a:ahLst/>
                <a:cxnLst/>
                <a:rect l="l" t="t" r="r" b="b"/>
                <a:pathLst>
                  <a:path h="2467609">
                    <a:moveTo>
                      <a:pt x="0" y="0"/>
                    </a:moveTo>
                    <a:lnTo>
                      <a:pt x="0" y="2467139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59" name="object 6">
                <a:extLst>
                  <a:ext uri="{FF2B5EF4-FFF2-40B4-BE49-F238E27FC236}">
                    <a16:creationId xmlns:a16="http://schemas.microsoft.com/office/drawing/2014/main" id="{DC32E038-6AD5-5D99-0B7E-155514E82E9D}"/>
                  </a:ext>
                </a:extLst>
              </p:cNvPr>
              <p:cNvSpPr/>
              <p:nvPr/>
            </p:nvSpPr>
            <p:spPr>
              <a:xfrm>
                <a:off x="1633340" y="8365459"/>
                <a:ext cx="277495" cy="252095"/>
              </a:xfrm>
              <a:custGeom>
                <a:avLst/>
                <a:gdLst/>
                <a:ahLst/>
                <a:cxnLst/>
                <a:rect l="l" t="t" r="r" b="b"/>
                <a:pathLst>
                  <a:path w="277494" h="252095">
                    <a:moveTo>
                      <a:pt x="0" y="0"/>
                    </a:moveTo>
                    <a:lnTo>
                      <a:pt x="13866" y="48836"/>
                    </a:lnTo>
                    <a:lnTo>
                      <a:pt x="35063" y="94111"/>
                    </a:lnTo>
                    <a:lnTo>
                      <a:pt x="62897" y="135126"/>
                    </a:lnTo>
                    <a:lnTo>
                      <a:pt x="96675" y="171188"/>
                    </a:lnTo>
                    <a:lnTo>
                      <a:pt x="135701" y="201599"/>
                    </a:lnTo>
                    <a:lnTo>
                      <a:pt x="179281" y="225664"/>
                    </a:lnTo>
                    <a:lnTo>
                      <a:pt x="226723" y="242687"/>
                    </a:lnTo>
                    <a:lnTo>
                      <a:pt x="277331" y="251971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60" name="object 7">
                <a:extLst>
                  <a:ext uri="{FF2B5EF4-FFF2-40B4-BE49-F238E27FC236}">
                    <a16:creationId xmlns:a16="http://schemas.microsoft.com/office/drawing/2014/main" id="{6559E618-A26D-63F7-F1CA-FCA4249795C8}"/>
                  </a:ext>
                </a:extLst>
              </p:cNvPr>
              <p:cNvSpPr/>
              <p:nvPr/>
            </p:nvSpPr>
            <p:spPr>
              <a:xfrm>
                <a:off x="1616887" y="8293642"/>
                <a:ext cx="20955" cy="20955"/>
              </a:xfrm>
              <a:custGeom>
                <a:avLst/>
                <a:gdLst/>
                <a:ahLst/>
                <a:cxnLst/>
                <a:rect l="l" t="t" r="r" b="b"/>
                <a:pathLst>
                  <a:path w="20955" h="20954">
                    <a:moveTo>
                      <a:pt x="0" y="10470"/>
                    </a:moveTo>
                    <a:lnTo>
                      <a:pt x="3066" y="3066"/>
                    </a:lnTo>
                    <a:lnTo>
                      <a:pt x="10470" y="0"/>
                    </a:lnTo>
                    <a:lnTo>
                      <a:pt x="17874" y="3066"/>
                    </a:lnTo>
                    <a:lnTo>
                      <a:pt x="20941" y="10470"/>
                    </a:lnTo>
                    <a:lnTo>
                      <a:pt x="17874" y="17874"/>
                    </a:lnTo>
                    <a:lnTo>
                      <a:pt x="10470" y="20941"/>
                    </a:lnTo>
                    <a:lnTo>
                      <a:pt x="3066" y="17874"/>
                    </a:lnTo>
                    <a:lnTo>
                      <a:pt x="0" y="10470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61" name="object 8">
                <a:extLst>
                  <a:ext uri="{FF2B5EF4-FFF2-40B4-BE49-F238E27FC236}">
                    <a16:creationId xmlns:a16="http://schemas.microsoft.com/office/drawing/2014/main" id="{75AD6B4D-56CD-CBD5-1D27-42052B48904C}"/>
                  </a:ext>
                </a:extLst>
              </p:cNvPr>
              <p:cNvSpPr/>
              <p:nvPr/>
            </p:nvSpPr>
            <p:spPr>
              <a:xfrm>
                <a:off x="2003881" y="8619154"/>
                <a:ext cx="3588385" cy="8890"/>
              </a:xfrm>
              <a:custGeom>
                <a:avLst/>
                <a:gdLst/>
                <a:ahLst/>
                <a:cxnLst/>
                <a:rect l="l" t="t" r="r" b="b"/>
                <a:pathLst>
                  <a:path w="3588385" h="8890">
                    <a:moveTo>
                      <a:pt x="0" y="0"/>
                    </a:moveTo>
                    <a:lnTo>
                      <a:pt x="3587786" y="8711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62" name="object 9">
                <a:extLst>
                  <a:ext uri="{FF2B5EF4-FFF2-40B4-BE49-F238E27FC236}">
                    <a16:creationId xmlns:a16="http://schemas.microsoft.com/office/drawing/2014/main" id="{1B562921-8B76-0027-F506-8F88B6F6D1A6}"/>
                  </a:ext>
                </a:extLst>
              </p:cNvPr>
              <p:cNvSpPr/>
              <p:nvPr/>
            </p:nvSpPr>
            <p:spPr>
              <a:xfrm>
                <a:off x="1931014" y="8608533"/>
                <a:ext cx="20955" cy="20955"/>
              </a:xfrm>
              <a:custGeom>
                <a:avLst/>
                <a:gdLst/>
                <a:ahLst/>
                <a:cxnLst/>
                <a:rect l="l" t="t" r="r" b="b"/>
                <a:pathLst>
                  <a:path w="20955" h="20954">
                    <a:moveTo>
                      <a:pt x="0" y="10470"/>
                    </a:moveTo>
                    <a:lnTo>
                      <a:pt x="3066" y="3066"/>
                    </a:lnTo>
                    <a:lnTo>
                      <a:pt x="10470" y="0"/>
                    </a:lnTo>
                    <a:lnTo>
                      <a:pt x="17874" y="3066"/>
                    </a:lnTo>
                    <a:lnTo>
                      <a:pt x="20941" y="10470"/>
                    </a:lnTo>
                    <a:lnTo>
                      <a:pt x="17874" y="17874"/>
                    </a:lnTo>
                    <a:lnTo>
                      <a:pt x="10470" y="20941"/>
                    </a:lnTo>
                    <a:lnTo>
                      <a:pt x="3066" y="17874"/>
                    </a:lnTo>
                    <a:lnTo>
                      <a:pt x="0" y="10470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63" name="object 10">
                <a:extLst>
                  <a:ext uri="{FF2B5EF4-FFF2-40B4-BE49-F238E27FC236}">
                    <a16:creationId xmlns:a16="http://schemas.microsoft.com/office/drawing/2014/main" id="{D7C8A975-CA69-0CBC-BA39-90E954E29B65}"/>
                  </a:ext>
                </a:extLst>
              </p:cNvPr>
              <p:cNvSpPr/>
              <p:nvPr/>
            </p:nvSpPr>
            <p:spPr>
              <a:xfrm>
                <a:off x="5684136" y="8345358"/>
                <a:ext cx="251460" cy="276860"/>
              </a:xfrm>
              <a:custGeom>
                <a:avLst/>
                <a:gdLst/>
                <a:ahLst/>
                <a:cxnLst/>
                <a:rect l="l" t="t" r="r" b="b"/>
                <a:pathLst>
                  <a:path w="251460" h="276859">
                    <a:moveTo>
                      <a:pt x="0" y="276766"/>
                    </a:moveTo>
                    <a:lnTo>
                      <a:pt x="48818" y="263026"/>
                    </a:lnTo>
                    <a:lnTo>
                      <a:pt x="94055" y="241941"/>
                    </a:lnTo>
                    <a:lnTo>
                      <a:pt x="135016" y="214203"/>
                    </a:lnTo>
                    <a:lnTo>
                      <a:pt x="171006" y="180507"/>
                    </a:lnTo>
                    <a:lnTo>
                      <a:pt x="201330" y="141545"/>
                    </a:lnTo>
                    <a:lnTo>
                      <a:pt x="225295" y="98011"/>
                    </a:lnTo>
                    <a:lnTo>
                      <a:pt x="242204" y="50598"/>
                    </a:lnTo>
                    <a:lnTo>
                      <a:pt x="251364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64" name="object 11">
                <a:extLst>
                  <a:ext uri="{FF2B5EF4-FFF2-40B4-BE49-F238E27FC236}">
                    <a16:creationId xmlns:a16="http://schemas.microsoft.com/office/drawing/2014/main" id="{E35F7A5F-EF6A-E203-F651-F599DCEFFF35}"/>
                  </a:ext>
                </a:extLst>
              </p:cNvPr>
              <p:cNvSpPr/>
              <p:nvPr/>
            </p:nvSpPr>
            <p:spPr>
              <a:xfrm>
                <a:off x="1616887" y="5732811"/>
                <a:ext cx="4330700" cy="2905760"/>
              </a:xfrm>
              <a:custGeom>
                <a:avLst/>
                <a:gdLst/>
                <a:ahLst/>
                <a:cxnLst/>
                <a:rect l="l" t="t" r="r" b="b"/>
                <a:pathLst>
                  <a:path w="4330700" h="2905759">
                    <a:moveTo>
                      <a:pt x="20929" y="10477"/>
                    </a:moveTo>
                    <a:lnTo>
                      <a:pt x="17868" y="3073"/>
                    </a:lnTo>
                    <a:lnTo>
                      <a:pt x="10464" y="0"/>
                    </a:lnTo>
                    <a:lnTo>
                      <a:pt x="3060" y="3073"/>
                    </a:lnTo>
                    <a:lnTo>
                      <a:pt x="0" y="10477"/>
                    </a:lnTo>
                    <a:lnTo>
                      <a:pt x="3060" y="17881"/>
                    </a:lnTo>
                    <a:lnTo>
                      <a:pt x="10464" y="20942"/>
                    </a:lnTo>
                    <a:lnTo>
                      <a:pt x="17868" y="17881"/>
                    </a:lnTo>
                    <a:lnTo>
                      <a:pt x="20929" y="10477"/>
                    </a:lnTo>
                    <a:close/>
                  </a:path>
                  <a:path w="4330700" h="2905759">
                    <a:moveTo>
                      <a:pt x="4016451" y="2895142"/>
                    </a:moveTo>
                    <a:lnTo>
                      <a:pt x="4013377" y="2887738"/>
                    </a:lnTo>
                    <a:lnTo>
                      <a:pt x="4005973" y="2884665"/>
                    </a:lnTo>
                    <a:lnTo>
                      <a:pt x="3998569" y="2887738"/>
                    </a:lnTo>
                    <a:lnTo>
                      <a:pt x="3995509" y="2895142"/>
                    </a:lnTo>
                    <a:lnTo>
                      <a:pt x="3998569" y="2902547"/>
                    </a:lnTo>
                    <a:lnTo>
                      <a:pt x="4005973" y="2905607"/>
                    </a:lnTo>
                    <a:lnTo>
                      <a:pt x="4013377" y="2902547"/>
                    </a:lnTo>
                    <a:lnTo>
                      <a:pt x="4016451" y="2895142"/>
                    </a:lnTo>
                    <a:close/>
                  </a:path>
                  <a:path w="4330700" h="2905759">
                    <a:moveTo>
                      <a:pt x="4330573" y="2581783"/>
                    </a:moveTo>
                    <a:lnTo>
                      <a:pt x="4327512" y="2574379"/>
                    </a:lnTo>
                    <a:lnTo>
                      <a:pt x="4320108" y="2571305"/>
                    </a:lnTo>
                    <a:lnTo>
                      <a:pt x="4312704" y="2574379"/>
                    </a:lnTo>
                    <a:lnTo>
                      <a:pt x="4309630" y="2581783"/>
                    </a:lnTo>
                    <a:lnTo>
                      <a:pt x="4312704" y="2589187"/>
                    </a:lnTo>
                    <a:lnTo>
                      <a:pt x="4320108" y="2592247"/>
                    </a:lnTo>
                    <a:lnTo>
                      <a:pt x="4327512" y="2589187"/>
                    </a:lnTo>
                    <a:lnTo>
                      <a:pt x="4330573" y="2581783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65" name="object 12">
                <a:extLst>
                  <a:ext uri="{FF2B5EF4-FFF2-40B4-BE49-F238E27FC236}">
                    <a16:creationId xmlns:a16="http://schemas.microsoft.com/office/drawing/2014/main" id="{E0943846-5820-FB6C-9E9E-7981A949FD6C}"/>
                  </a:ext>
                </a:extLst>
              </p:cNvPr>
              <p:cNvSpPr/>
              <p:nvPr/>
            </p:nvSpPr>
            <p:spPr>
              <a:xfrm>
                <a:off x="1585475" y="5701396"/>
                <a:ext cx="83820" cy="83820"/>
              </a:xfrm>
              <a:custGeom>
                <a:avLst/>
                <a:gdLst/>
                <a:ahLst/>
                <a:cxnLst/>
                <a:rect l="l" t="t" r="r" b="b"/>
                <a:pathLst>
                  <a:path w="83819" h="83820">
                    <a:moveTo>
                      <a:pt x="41883" y="0"/>
                    </a:moveTo>
                    <a:lnTo>
                      <a:pt x="25581" y="3291"/>
                    </a:lnTo>
                    <a:lnTo>
                      <a:pt x="12267" y="12267"/>
                    </a:lnTo>
                    <a:lnTo>
                      <a:pt x="3291" y="25581"/>
                    </a:lnTo>
                    <a:lnTo>
                      <a:pt x="0" y="41883"/>
                    </a:lnTo>
                    <a:lnTo>
                      <a:pt x="3291" y="58185"/>
                    </a:lnTo>
                    <a:lnTo>
                      <a:pt x="12267" y="71499"/>
                    </a:lnTo>
                    <a:lnTo>
                      <a:pt x="25581" y="80475"/>
                    </a:lnTo>
                    <a:lnTo>
                      <a:pt x="41883" y="83767"/>
                    </a:lnTo>
                    <a:lnTo>
                      <a:pt x="58185" y="80475"/>
                    </a:lnTo>
                    <a:lnTo>
                      <a:pt x="71499" y="71499"/>
                    </a:lnTo>
                    <a:lnTo>
                      <a:pt x="80475" y="58185"/>
                    </a:lnTo>
                    <a:lnTo>
                      <a:pt x="83767" y="41883"/>
                    </a:lnTo>
                    <a:lnTo>
                      <a:pt x="80475" y="25581"/>
                    </a:lnTo>
                    <a:lnTo>
                      <a:pt x="71499" y="12267"/>
                    </a:lnTo>
                    <a:lnTo>
                      <a:pt x="58185" y="3291"/>
                    </a:lnTo>
                    <a:lnTo>
                      <a:pt x="41883" y="0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grpSp>
          <p:nvGrpSpPr>
            <p:cNvPr id="22" name="object 13">
              <a:extLst>
                <a:ext uri="{FF2B5EF4-FFF2-40B4-BE49-F238E27FC236}">
                  <a16:creationId xmlns:a16="http://schemas.microsoft.com/office/drawing/2014/main" id="{7E5B0826-F496-42D4-2ABF-A97CDA263D6D}"/>
                </a:ext>
              </a:extLst>
            </p:cNvPr>
            <p:cNvGrpSpPr/>
            <p:nvPr/>
          </p:nvGrpSpPr>
          <p:grpSpPr>
            <a:xfrm>
              <a:off x="3323146" y="1872371"/>
              <a:ext cx="227038" cy="3206049"/>
              <a:chOff x="5926521" y="3517515"/>
              <a:chExt cx="335280" cy="4734560"/>
            </a:xfrm>
          </p:grpSpPr>
          <p:sp>
            <p:nvSpPr>
              <p:cNvPr id="55" name="object 14">
                <a:extLst>
                  <a:ext uri="{FF2B5EF4-FFF2-40B4-BE49-F238E27FC236}">
                    <a16:creationId xmlns:a16="http://schemas.microsoft.com/office/drawing/2014/main" id="{89E6EA38-6A81-1582-D5A7-B6C407B97A45}"/>
                  </a:ext>
                </a:extLst>
              </p:cNvPr>
              <p:cNvSpPr/>
              <p:nvPr/>
            </p:nvSpPr>
            <p:spPr>
              <a:xfrm>
                <a:off x="5936992" y="3873609"/>
                <a:ext cx="0" cy="4378325"/>
              </a:xfrm>
              <a:custGeom>
                <a:avLst/>
                <a:gdLst/>
                <a:ahLst/>
                <a:cxnLst/>
                <a:rect l="l" t="t" r="r" b="b"/>
                <a:pathLst>
                  <a:path h="4378325">
                    <a:moveTo>
                      <a:pt x="0" y="4377981"/>
                    </a:moveTo>
                    <a:lnTo>
                      <a:pt x="0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56" name="object 15">
                <a:extLst>
                  <a:ext uri="{FF2B5EF4-FFF2-40B4-BE49-F238E27FC236}">
                    <a16:creationId xmlns:a16="http://schemas.microsoft.com/office/drawing/2014/main" id="{CD50E4F5-5DF4-942D-898B-6E08EE983B75}"/>
                  </a:ext>
                </a:extLst>
              </p:cNvPr>
              <p:cNvSpPr/>
              <p:nvPr/>
            </p:nvSpPr>
            <p:spPr>
              <a:xfrm>
                <a:off x="5942968" y="3529483"/>
                <a:ext cx="277495" cy="251460"/>
              </a:xfrm>
              <a:custGeom>
                <a:avLst/>
                <a:gdLst/>
                <a:ahLst/>
                <a:cxnLst/>
                <a:rect l="l" t="t" r="r" b="b"/>
                <a:pathLst>
                  <a:path w="277495" h="251460">
                    <a:moveTo>
                      <a:pt x="0" y="251332"/>
                    </a:moveTo>
                    <a:lnTo>
                      <a:pt x="13863" y="202521"/>
                    </a:lnTo>
                    <a:lnTo>
                      <a:pt x="35059" y="157290"/>
                    </a:lnTo>
                    <a:lnTo>
                      <a:pt x="62894" y="116335"/>
                    </a:lnTo>
                    <a:lnTo>
                      <a:pt x="96673" y="80349"/>
                    </a:lnTo>
                    <a:lnTo>
                      <a:pt x="135703" y="50028"/>
                    </a:lnTo>
                    <a:lnTo>
                      <a:pt x="179289" y="26067"/>
                    </a:lnTo>
                    <a:lnTo>
                      <a:pt x="226737" y="9159"/>
                    </a:lnTo>
                    <a:lnTo>
                      <a:pt x="277352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57" name="object 16">
                <a:extLst>
                  <a:ext uri="{FF2B5EF4-FFF2-40B4-BE49-F238E27FC236}">
                    <a16:creationId xmlns:a16="http://schemas.microsoft.com/office/drawing/2014/main" id="{A559A6FC-BE2B-F5C4-050A-EFAABB4C054F}"/>
                  </a:ext>
                </a:extLst>
              </p:cNvPr>
              <p:cNvSpPr/>
              <p:nvPr/>
            </p:nvSpPr>
            <p:spPr>
              <a:xfrm>
                <a:off x="5926518" y="3517524"/>
                <a:ext cx="335280" cy="335280"/>
              </a:xfrm>
              <a:custGeom>
                <a:avLst/>
                <a:gdLst/>
                <a:ahLst/>
                <a:cxnLst/>
                <a:rect l="l" t="t" r="r" b="b"/>
                <a:pathLst>
                  <a:path w="335279" h="335279">
                    <a:moveTo>
                      <a:pt x="20942" y="324599"/>
                    </a:moveTo>
                    <a:lnTo>
                      <a:pt x="17881" y="317195"/>
                    </a:lnTo>
                    <a:lnTo>
                      <a:pt x="10477" y="314121"/>
                    </a:lnTo>
                    <a:lnTo>
                      <a:pt x="3073" y="317195"/>
                    </a:lnTo>
                    <a:lnTo>
                      <a:pt x="0" y="324599"/>
                    </a:lnTo>
                    <a:lnTo>
                      <a:pt x="3073" y="332003"/>
                    </a:lnTo>
                    <a:lnTo>
                      <a:pt x="10477" y="335064"/>
                    </a:lnTo>
                    <a:lnTo>
                      <a:pt x="17881" y="332003"/>
                    </a:lnTo>
                    <a:lnTo>
                      <a:pt x="20942" y="324599"/>
                    </a:lnTo>
                    <a:close/>
                  </a:path>
                  <a:path w="335279" h="335279">
                    <a:moveTo>
                      <a:pt x="335064" y="10464"/>
                    </a:moveTo>
                    <a:lnTo>
                      <a:pt x="332003" y="3060"/>
                    </a:lnTo>
                    <a:lnTo>
                      <a:pt x="324599" y="0"/>
                    </a:lnTo>
                    <a:lnTo>
                      <a:pt x="317195" y="3060"/>
                    </a:lnTo>
                    <a:lnTo>
                      <a:pt x="314134" y="10464"/>
                    </a:lnTo>
                    <a:lnTo>
                      <a:pt x="317195" y="17868"/>
                    </a:lnTo>
                    <a:lnTo>
                      <a:pt x="324599" y="20942"/>
                    </a:lnTo>
                    <a:lnTo>
                      <a:pt x="332003" y="17868"/>
                    </a:lnTo>
                    <a:lnTo>
                      <a:pt x="335064" y="10464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grpSp>
          <p:nvGrpSpPr>
            <p:cNvPr id="23" name="object 17">
              <a:extLst>
                <a:ext uri="{FF2B5EF4-FFF2-40B4-BE49-F238E27FC236}">
                  <a16:creationId xmlns:a16="http://schemas.microsoft.com/office/drawing/2014/main" id="{B28073F3-6020-CCD2-BECA-EBD2532009DF}"/>
                </a:ext>
              </a:extLst>
            </p:cNvPr>
            <p:cNvGrpSpPr/>
            <p:nvPr/>
          </p:nvGrpSpPr>
          <p:grpSpPr>
            <a:xfrm>
              <a:off x="3585493" y="1872371"/>
              <a:ext cx="2559765" cy="227038"/>
              <a:chOff x="6313944" y="3517515"/>
              <a:chExt cx="3780154" cy="335280"/>
            </a:xfrm>
          </p:grpSpPr>
          <p:sp>
            <p:nvSpPr>
              <p:cNvPr id="52" name="object 18">
                <a:extLst>
                  <a:ext uri="{FF2B5EF4-FFF2-40B4-BE49-F238E27FC236}">
                    <a16:creationId xmlns:a16="http://schemas.microsoft.com/office/drawing/2014/main" id="{4C38A7E6-1066-98D2-C580-D735479826F2}"/>
                  </a:ext>
                </a:extLst>
              </p:cNvPr>
              <p:cNvSpPr/>
              <p:nvPr/>
            </p:nvSpPr>
            <p:spPr>
              <a:xfrm>
                <a:off x="6313944" y="3527986"/>
                <a:ext cx="3424554" cy="0"/>
              </a:xfrm>
              <a:custGeom>
                <a:avLst/>
                <a:gdLst/>
                <a:ahLst/>
                <a:cxnLst/>
                <a:rect l="l" t="t" r="r" b="b"/>
                <a:pathLst>
                  <a:path w="3424554">
                    <a:moveTo>
                      <a:pt x="0" y="0"/>
                    </a:moveTo>
                    <a:lnTo>
                      <a:pt x="3423979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53" name="object 19">
                <a:extLst>
                  <a:ext uri="{FF2B5EF4-FFF2-40B4-BE49-F238E27FC236}">
                    <a16:creationId xmlns:a16="http://schemas.microsoft.com/office/drawing/2014/main" id="{3BE53713-1ABF-45F7-2F82-56A2797C6E61}"/>
                  </a:ext>
                </a:extLst>
              </p:cNvPr>
              <p:cNvSpPr/>
              <p:nvPr/>
            </p:nvSpPr>
            <p:spPr>
              <a:xfrm>
                <a:off x="9830637" y="3533965"/>
                <a:ext cx="251460" cy="277495"/>
              </a:xfrm>
              <a:custGeom>
                <a:avLst/>
                <a:gdLst/>
                <a:ahLst/>
                <a:cxnLst/>
                <a:rect l="l" t="t" r="r" b="b"/>
                <a:pathLst>
                  <a:path w="251459" h="277495">
                    <a:moveTo>
                      <a:pt x="0" y="0"/>
                    </a:moveTo>
                    <a:lnTo>
                      <a:pt x="48810" y="13860"/>
                    </a:lnTo>
                    <a:lnTo>
                      <a:pt x="94040" y="35055"/>
                    </a:lnTo>
                    <a:lnTo>
                      <a:pt x="134994" y="62889"/>
                    </a:lnTo>
                    <a:lnTo>
                      <a:pt x="170979" y="96669"/>
                    </a:lnTo>
                    <a:lnTo>
                      <a:pt x="201299" y="135700"/>
                    </a:lnTo>
                    <a:lnTo>
                      <a:pt x="225261" y="179287"/>
                    </a:lnTo>
                    <a:lnTo>
                      <a:pt x="242170" y="226736"/>
                    </a:lnTo>
                    <a:lnTo>
                      <a:pt x="251332" y="277352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54" name="object 20">
                <a:extLst>
                  <a:ext uri="{FF2B5EF4-FFF2-40B4-BE49-F238E27FC236}">
                    <a16:creationId xmlns:a16="http://schemas.microsoft.com/office/drawing/2014/main" id="{D73F6B89-9C24-E685-B8F7-5143CDEADC63}"/>
                  </a:ext>
                </a:extLst>
              </p:cNvPr>
              <p:cNvSpPr/>
              <p:nvPr/>
            </p:nvSpPr>
            <p:spPr>
              <a:xfrm>
                <a:off x="9758870" y="3517524"/>
                <a:ext cx="335280" cy="335280"/>
              </a:xfrm>
              <a:custGeom>
                <a:avLst/>
                <a:gdLst/>
                <a:ahLst/>
                <a:cxnLst/>
                <a:rect l="l" t="t" r="r" b="b"/>
                <a:pathLst>
                  <a:path w="335279" h="335279">
                    <a:moveTo>
                      <a:pt x="20929" y="10464"/>
                    </a:moveTo>
                    <a:lnTo>
                      <a:pt x="17868" y="3060"/>
                    </a:lnTo>
                    <a:lnTo>
                      <a:pt x="10464" y="0"/>
                    </a:lnTo>
                    <a:lnTo>
                      <a:pt x="3060" y="3060"/>
                    </a:lnTo>
                    <a:lnTo>
                      <a:pt x="0" y="10464"/>
                    </a:lnTo>
                    <a:lnTo>
                      <a:pt x="3060" y="17868"/>
                    </a:lnTo>
                    <a:lnTo>
                      <a:pt x="10464" y="20942"/>
                    </a:lnTo>
                    <a:lnTo>
                      <a:pt x="17868" y="17868"/>
                    </a:lnTo>
                    <a:lnTo>
                      <a:pt x="20929" y="10464"/>
                    </a:lnTo>
                    <a:close/>
                  </a:path>
                  <a:path w="335279" h="335279">
                    <a:moveTo>
                      <a:pt x="335064" y="324599"/>
                    </a:moveTo>
                    <a:lnTo>
                      <a:pt x="331990" y="317195"/>
                    </a:lnTo>
                    <a:lnTo>
                      <a:pt x="324586" y="314121"/>
                    </a:lnTo>
                    <a:lnTo>
                      <a:pt x="317182" y="317195"/>
                    </a:lnTo>
                    <a:lnTo>
                      <a:pt x="314121" y="324599"/>
                    </a:lnTo>
                    <a:lnTo>
                      <a:pt x="317182" y="332003"/>
                    </a:lnTo>
                    <a:lnTo>
                      <a:pt x="324586" y="335064"/>
                    </a:lnTo>
                    <a:lnTo>
                      <a:pt x="331990" y="332003"/>
                    </a:lnTo>
                    <a:lnTo>
                      <a:pt x="335064" y="324599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grpSp>
          <p:nvGrpSpPr>
            <p:cNvPr id="24" name="object 21">
              <a:extLst>
                <a:ext uri="{FF2B5EF4-FFF2-40B4-BE49-F238E27FC236}">
                  <a16:creationId xmlns:a16="http://schemas.microsoft.com/office/drawing/2014/main" id="{D912B15F-8799-7B6C-5F34-E6263B7F1C69}"/>
                </a:ext>
              </a:extLst>
            </p:cNvPr>
            <p:cNvGrpSpPr/>
            <p:nvPr/>
          </p:nvGrpSpPr>
          <p:grpSpPr>
            <a:xfrm>
              <a:off x="6130966" y="2134832"/>
              <a:ext cx="227038" cy="3206049"/>
              <a:chOff x="10072992" y="3905106"/>
              <a:chExt cx="335280" cy="4734560"/>
            </a:xfrm>
          </p:grpSpPr>
          <p:sp>
            <p:nvSpPr>
              <p:cNvPr id="49" name="object 22">
                <a:extLst>
                  <a:ext uri="{FF2B5EF4-FFF2-40B4-BE49-F238E27FC236}">
                    <a16:creationId xmlns:a16="http://schemas.microsoft.com/office/drawing/2014/main" id="{AFF3A81E-518C-7E77-7EB0-B276417480FA}"/>
                  </a:ext>
                </a:extLst>
              </p:cNvPr>
              <p:cNvSpPr/>
              <p:nvPr/>
            </p:nvSpPr>
            <p:spPr>
              <a:xfrm>
                <a:off x="10083463" y="3905106"/>
                <a:ext cx="0" cy="4378325"/>
              </a:xfrm>
              <a:custGeom>
                <a:avLst/>
                <a:gdLst/>
                <a:ahLst/>
                <a:cxnLst/>
                <a:rect l="l" t="t" r="r" b="b"/>
                <a:pathLst>
                  <a:path h="4378325">
                    <a:moveTo>
                      <a:pt x="0" y="0"/>
                    </a:moveTo>
                    <a:lnTo>
                      <a:pt x="0" y="4377981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50" name="object 23">
                <a:extLst>
                  <a:ext uri="{FF2B5EF4-FFF2-40B4-BE49-F238E27FC236}">
                    <a16:creationId xmlns:a16="http://schemas.microsoft.com/office/drawing/2014/main" id="{5F5B3569-3F4E-477A-6BE3-C16E0D116B18}"/>
                  </a:ext>
                </a:extLst>
              </p:cNvPr>
              <p:cNvSpPr/>
              <p:nvPr/>
            </p:nvSpPr>
            <p:spPr>
              <a:xfrm>
                <a:off x="10089439" y="8375882"/>
                <a:ext cx="277495" cy="251460"/>
              </a:xfrm>
              <a:custGeom>
                <a:avLst/>
                <a:gdLst/>
                <a:ahLst/>
                <a:cxnLst/>
                <a:rect l="l" t="t" r="r" b="b"/>
                <a:pathLst>
                  <a:path w="277495" h="251459">
                    <a:moveTo>
                      <a:pt x="0" y="0"/>
                    </a:moveTo>
                    <a:lnTo>
                      <a:pt x="13863" y="48811"/>
                    </a:lnTo>
                    <a:lnTo>
                      <a:pt x="35059" y="94042"/>
                    </a:lnTo>
                    <a:lnTo>
                      <a:pt x="62894" y="134998"/>
                    </a:lnTo>
                    <a:lnTo>
                      <a:pt x="96673" y="170984"/>
                    </a:lnTo>
                    <a:lnTo>
                      <a:pt x="135703" y="201306"/>
                    </a:lnTo>
                    <a:lnTo>
                      <a:pt x="179289" y="225269"/>
                    </a:lnTo>
                    <a:lnTo>
                      <a:pt x="226737" y="242180"/>
                    </a:lnTo>
                    <a:lnTo>
                      <a:pt x="277352" y="251343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51" name="object 24">
                <a:extLst>
                  <a:ext uri="{FF2B5EF4-FFF2-40B4-BE49-F238E27FC236}">
                    <a16:creationId xmlns:a16="http://schemas.microsoft.com/office/drawing/2014/main" id="{C5468CE2-1CE4-A6A3-B35D-A9CFBFB1BA49}"/>
                  </a:ext>
                </a:extLst>
              </p:cNvPr>
              <p:cNvSpPr/>
              <p:nvPr/>
            </p:nvSpPr>
            <p:spPr>
              <a:xfrm>
                <a:off x="10072993" y="8304117"/>
                <a:ext cx="335280" cy="335280"/>
              </a:xfrm>
              <a:custGeom>
                <a:avLst/>
                <a:gdLst/>
                <a:ahLst/>
                <a:cxnLst/>
                <a:rect l="l" t="t" r="r" b="b"/>
                <a:pathLst>
                  <a:path w="335279" h="335279">
                    <a:moveTo>
                      <a:pt x="20942" y="10477"/>
                    </a:moveTo>
                    <a:lnTo>
                      <a:pt x="17868" y="3073"/>
                    </a:lnTo>
                    <a:lnTo>
                      <a:pt x="10464" y="0"/>
                    </a:lnTo>
                    <a:lnTo>
                      <a:pt x="3060" y="3073"/>
                    </a:lnTo>
                    <a:lnTo>
                      <a:pt x="0" y="10477"/>
                    </a:lnTo>
                    <a:lnTo>
                      <a:pt x="3060" y="17881"/>
                    </a:lnTo>
                    <a:lnTo>
                      <a:pt x="10464" y="20942"/>
                    </a:lnTo>
                    <a:lnTo>
                      <a:pt x="17868" y="17881"/>
                    </a:lnTo>
                    <a:lnTo>
                      <a:pt x="20942" y="10477"/>
                    </a:lnTo>
                    <a:close/>
                  </a:path>
                  <a:path w="335279" h="335279">
                    <a:moveTo>
                      <a:pt x="335064" y="324599"/>
                    </a:moveTo>
                    <a:lnTo>
                      <a:pt x="332003" y="317195"/>
                    </a:lnTo>
                    <a:lnTo>
                      <a:pt x="324599" y="314134"/>
                    </a:lnTo>
                    <a:lnTo>
                      <a:pt x="317195" y="317195"/>
                    </a:lnTo>
                    <a:lnTo>
                      <a:pt x="314121" y="324599"/>
                    </a:lnTo>
                    <a:lnTo>
                      <a:pt x="317195" y="332003"/>
                    </a:lnTo>
                    <a:lnTo>
                      <a:pt x="324599" y="335076"/>
                    </a:lnTo>
                    <a:lnTo>
                      <a:pt x="332003" y="332003"/>
                    </a:lnTo>
                    <a:lnTo>
                      <a:pt x="335064" y="324599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grpSp>
          <p:nvGrpSpPr>
            <p:cNvPr id="25" name="object 25">
              <a:extLst>
                <a:ext uri="{FF2B5EF4-FFF2-40B4-BE49-F238E27FC236}">
                  <a16:creationId xmlns:a16="http://schemas.microsoft.com/office/drawing/2014/main" id="{EF0EC330-A54E-0A08-05C3-18798EA6B50D}"/>
                </a:ext>
              </a:extLst>
            </p:cNvPr>
            <p:cNvGrpSpPr/>
            <p:nvPr/>
          </p:nvGrpSpPr>
          <p:grpSpPr>
            <a:xfrm>
              <a:off x="6393312" y="5113658"/>
              <a:ext cx="2559765" cy="227038"/>
              <a:chOff x="10460414" y="8304114"/>
              <a:chExt cx="3780154" cy="335280"/>
            </a:xfrm>
          </p:grpSpPr>
          <p:sp>
            <p:nvSpPr>
              <p:cNvPr id="46" name="object 26">
                <a:extLst>
                  <a:ext uri="{FF2B5EF4-FFF2-40B4-BE49-F238E27FC236}">
                    <a16:creationId xmlns:a16="http://schemas.microsoft.com/office/drawing/2014/main" id="{50C051EC-07DA-E1CC-F6A5-24FCD3457D01}"/>
                  </a:ext>
                </a:extLst>
              </p:cNvPr>
              <p:cNvSpPr/>
              <p:nvPr/>
            </p:nvSpPr>
            <p:spPr>
              <a:xfrm>
                <a:off x="10460414" y="8628710"/>
                <a:ext cx="3424554" cy="0"/>
              </a:xfrm>
              <a:custGeom>
                <a:avLst/>
                <a:gdLst/>
                <a:ahLst/>
                <a:cxnLst/>
                <a:rect l="l" t="t" r="r" b="b"/>
                <a:pathLst>
                  <a:path w="3424555">
                    <a:moveTo>
                      <a:pt x="0" y="0"/>
                    </a:moveTo>
                    <a:lnTo>
                      <a:pt x="3423979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47" name="object 27">
                <a:extLst>
                  <a:ext uri="{FF2B5EF4-FFF2-40B4-BE49-F238E27FC236}">
                    <a16:creationId xmlns:a16="http://schemas.microsoft.com/office/drawing/2014/main" id="{0B53266E-05BF-7F85-FEEE-B771F63DCE06}"/>
                  </a:ext>
                </a:extLst>
              </p:cNvPr>
              <p:cNvSpPr/>
              <p:nvPr/>
            </p:nvSpPr>
            <p:spPr>
              <a:xfrm>
                <a:off x="13977108" y="8345379"/>
                <a:ext cx="251460" cy="277495"/>
              </a:xfrm>
              <a:custGeom>
                <a:avLst/>
                <a:gdLst/>
                <a:ahLst/>
                <a:cxnLst/>
                <a:rect l="l" t="t" r="r" b="b"/>
                <a:pathLst>
                  <a:path w="251459" h="277495">
                    <a:moveTo>
                      <a:pt x="0" y="277352"/>
                    </a:moveTo>
                    <a:lnTo>
                      <a:pt x="48810" y="263492"/>
                    </a:lnTo>
                    <a:lnTo>
                      <a:pt x="94040" y="242297"/>
                    </a:lnTo>
                    <a:lnTo>
                      <a:pt x="134994" y="214462"/>
                    </a:lnTo>
                    <a:lnTo>
                      <a:pt x="170979" y="180682"/>
                    </a:lnTo>
                    <a:lnTo>
                      <a:pt x="201299" y="141652"/>
                    </a:lnTo>
                    <a:lnTo>
                      <a:pt x="225261" y="98065"/>
                    </a:lnTo>
                    <a:lnTo>
                      <a:pt x="242170" y="50616"/>
                    </a:lnTo>
                    <a:lnTo>
                      <a:pt x="251332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48" name="object 28">
                <a:extLst>
                  <a:ext uri="{FF2B5EF4-FFF2-40B4-BE49-F238E27FC236}">
                    <a16:creationId xmlns:a16="http://schemas.microsoft.com/office/drawing/2014/main" id="{7CFA776A-F2E4-123F-8245-2A8CB70570F4}"/>
                  </a:ext>
                </a:extLst>
              </p:cNvPr>
              <p:cNvSpPr/>
              <p:nvPr/>
            </p:nvSpPr>
            <p:spPr>
              <a:xfrm>
                <a:off x="13905331" y="8304117"/>
                <a:ext cx="335280" cy="335280"/>
              </a:xfrm>
              <a:custGeom>
                <a:avLst/>
                <a:gdLst/>
                <a:ahLst/>
                <a:cxnLst/>
                <a:rect l="l" t="t" r="r" b="b"/>
                <a:pathLst>
                  <a:path w="335280" h="335279">
                    <a:moveTo>
                      <a:pt x="20942" y="324599"/>
                    </a:moveTo>
                    <a:lnTo>
                      <a:pt x="17881" y="317195"/>
                    </a:lnTo>
                    <a:lnTo>
                      <a:pt x="10477" y="314134"/>
                    </a:lnTo>
                    <a:lnTo>
                      <a:pt x="3073" y="317195"/>
                    </a:lnTo>
                    <a:lnTo>
                      <a:pt x="0" y="324599"/>
                    </a:lnTo>
                    <a:lnTo>
                      <a:pt x="3073" y="332003"/>
                    </a:lnTo>
                    <a:lnTo>
                      <a:pt x="10477" y="335076"/>
                    </a:lnTo>
                    <a:lnTo>
                      <a:pt x="17881" y="332003"/>
                    </a:lnTo>
                    <a:lnTo>
                      <a:pt x="20942" y="324599"/>
                    </a:lnTo>
                    <a:close/>
                  </a:path>
                  <a:path w="335280" h="335279">
                    <a:moveTo>
                      <a:pt x="335076" y="10477"/>
                    </a:moveTo>
                    <a:lnTo>
                      <a:pt x="332003" y="3073"/>
                    </a:lnTo>
                    <a:lnTo>
                      <a:pt x="324599" y="0"/>
                    </a:lnTo>
                    <a:lnTo>
                      <a:pt x="317195" y="3073"/>
                    </a:lnTo>
                    <a:lnTo>
                      <a:pt x="314134" y="10477"/>
                    </a:lnTo>
                    <a:lnTo>
                      <a:pt x="317195" y="17881"/>
                    </a:lnTo>
                    <a:lnTo>
                      <a:pt x="324599" y="20942"/>
                    </a:lnTo>
                    <a:lnTo>
                      <a:pt x="332003" y="17881"/>
                    </a:lnTo>
                    <a:lnTo>
                      <a:pt x="335076" y="10477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grpSp>
          <p:nvGrpSpPr>
            <p:cNvPr id="26" name="object 29">
              <a:extLst>
                <a:ext uri="{FF2B5EF4-FFF2-40B4-BE49-F238E27FC236}">
                  <a16:creationId xmlns:a16="http://schemas.microsoft.com/office/drawing/2014/main" id="{8FA7A9C2-7F49-B7E0-8589-A8C8E932789E}"/>
                </a:ext>
              </a:extLst>
            </p:cNvPr>
            <p:cNvGrpSpPr/>
            <p:nvPr/>
          </p:nvGrpSpPr>
          <p:grpSpPr>
            <a:xfrm>
              <a:off x="8938785" y="1872371"/>
              <a:ext cx="227038" cy="3206049"/>
              <a:chOff x="14219462" y="3517515"/>
              <a:chExt cx="335280" cy="4734560"/>
            </a:xfrm>
          </p:grpSpPr>
          <p:sp>
            <p:nvSpPr>
              <p:cNvPr id="43" name="object 30">
                <a:extLst>
                  <a:ext uri="{FF2B5EF4-FFF2-40B4-BE49-F238E27FC236}">
                    <a16:creationId xmlns:a16="http://schemas.microsoft.com/office/drawing/2014/main" id="{9FE12F61-0FB4-94ED-80BC-31C82915D246}"/>
                  </a:ext>
                </a:extLst>
              </p:cNvPr>
              <p:cNvSpPr/>
              <p:nvPr/>
            </p:nvSpPr>
            <p:spPr>
              <a:xfrm>
                <a:off x="14229933" y="3873609"/>
                <a:ext cx="0" cy="4378325"/>
              </a:xfrm>
              <a:custGeom>
                <a:avLst/>
                <a:gdLst/>
                <a:ahLst/>
                <a:cxnLst/>
                <a:rect l="l" t="t" r="r" b="b"/>
                <a:pathLst>
                  <a:path h="4378325">
                    <a:moveTo>
                      <a:pt x="0" y="4377981"/>
                    </a:moveTo>
                    <a:lnTo>
                      <a:pt x="0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44" name="object 31">
                <a:extLst>
                  <a:ext uri="{FF2B5EF4-FFF2-40B4-BE49-F238E27FC236}">
                    <a16:creationId xmlns:a16="http://schemas.microsoft.com/office/drawing/2014/main" id="{7AE019EF-E4A6-0AED-4E99-8DF49446C91A}"/>
                  </a:ext>
                </a:extLst>
              </p:cNvPr>
              <p:cNvSpPr/>
              <p:nvPr/>
            </p:nvSpPr>
            <p:spPr>
              <a:xfrm>
                <a:off x="14235909" y="3529483"/>
                <a:ext cx="277495" cy="251460"/>
              </a:xfrm>
              <a:custGeom>
                <a:avLst/>
                <a:gdLst/>
                <a:ahLst/>
                <a:cxnLst/>
                <a:rect l="l" t="t" r="r" b="b"/>
                <a:pathLst>
                  <a:path w="277494" h="251460">
                    <a:moveTo>
                      <a:pt x="0" y="251332"/>
                    </a:moveTo>
                    <a:lnTo>
                      <a:pt x="13863" y="202521"/>
                    </a:lnTo>
                    <a:lnTo>
                      <a:pt x="35059" y="157290"/>
                    </a:lnTo>
                    <a:lnTo>
                      <a:pt x="62894" y="116335"/>
                    </a:lnTo>
                    <a:lnTo>
                      <a:pt x="96673" y="80349"/>
                    </a:lnTo>
                    <a:lnTo>
                      <a:pt x="135703" y="50028"/>
                    </a:lnTo>
                    <a:lnTo>
                      <a:pt x="179289" y="26067"/>
                    </a:lnTo>
                    <a:lnTo>
                      <a:pt x="226737" y="9159"/>
                    </a:lnTo>
                    <a:lnTo>
                      <a:pt x="277352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45" name="object 32">
                <a:extLst>
                  <a:ext uri="{FF2B5EF4-FFF2-40B4-BE49-F238E27FC236}">
                    <a16:creationId xmlns:a16="http://schemas.microsoft.com/office/drawing/2014/main" id="{427E641D-8805-E277-9625-A8B0CD58682F}"/>
                  </a:ext>
                </a:extLst>
              </p:cNvPr>
              <p:cNvSpPr/>
              <p:nvPr/>
            </p:nvSpPr>
            <p:spPr>
              <a:xfrm>
                <a:off x="14219466" y="3517524"/>
                <a:ext cx="335280" cy="335280"/>
              </a:xfrm>
              <a:custGeom>
                <a:avLst/>
                <a:gdLst/>
                <a:ahLst/>
                <a:cxnLst/>
                <a:rect l="l" t="t" r="r" b="b"/>
                <a:pathLst>
                  <a:path w="335280" h="335279">
                    <a:moveTo>
                      <a:pt x="20942" y="324599"/>
                    </a:moveTo>
                    <a:lnTo>
                      <a:pt x="17868" y="317195"/>
                    </a:lnTo>
                    <a:lnTo>
                      <a:pt x="10464" y="314121"/>
                    </a:lnTo>
                    <a:lnTo>
                      <a:pt x="3060" y="317195"/>
                    </a:lnTo>
                    <a:lnTo>
                      <a:pt x="0" y="324599"/>
                    </a:lnTo>
                    <a:lnTo>
                      <a:pt x="3060" y="332003"/>
                    </a:lnTo>
                    <a:lnTo>
                      <a:pt x="10464" y="335064"/>
                    </a:lnTo>
                    <a:lnTo>
                      <a:pt x="17868" y="332003"/>
                    </a:lnTo>
                    <a:lnTo>
                      <a:pt x="20942" y="324599"/>
                    </a:lnTo>
                    <a:close/>
                  </a:path>
                  <a:path w="335280" h="335279">
                    <a:moveTo>
                      <a:pt x="335064" y="10464"/>
                    </a:moveTo>
                    <a:lnTo>
                      <a:pt x="331990" y="3060"/>
                    </a:lnTo>
                    <a:lnTo>
                      <a:pt x="324586" y="0"/>
                    </a:lnTo>
                    <a:lnTo>
                      <a:pt x="317195" y="3060"/>
                    </a:lnTo>
                    <a:lnTo>
                      <a:pt x="314121" y="10464"/>
                    </a:lnTo>
                    <a:lnTo>
                      <a:pt x="317195" y="17868"/>
                    </a:lnTo>
                    <a:lnTo>
                      <a:pt x="324586" y="20942"/>
                    </a:lnTo>
                    <a:lnTo>
                      <a:pt x="331990" y="17868"/>
                    </a:lnTo>
                    <a:lnTo>
                      <a:pt x="335064" y="10464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grpSp>
          <p:nvGrpSpPr>
            <p:cNvPr id="27" name="object 33">
              <a:extLst>
                <a:ext uri="{FF2B5EF4-FFF2-40B4-BE49-F238E27FC236}">
                  <a16:creationId xmlns:a16="http://schemas.microsoft.com/office/drawing/2014/main" id="{897E395E-A42B-F93A-89D3-E4E38620C2DA}"/>
                </a:ext>
              </a:extLst>
            </p:cNvPr>
            <p:cNvGrpSpPr/>
            <p:nvPr/>
          </p:nvGrpSpPr>
          <p:grpSpPr>
            <a:xfrm>
              <a:off x="9201506" y="1872371"/>
              <a:ext cx="2623405" cy="227038"/>
              <a:chOff x="14607437" y="3517515"/>
              <a:chExt cx="3874135" cy="335280"/>
            </a:xfrm>
          </p:grpSpPr>
          <p:sp>
            <p:nvSpPr>
              <p:cNvPr id="40" name="object 34">
                <a:extLst>
                  <a:ext uri="{FF2B5EF4-FFF2-40B4-BE49-F238E27FC236}">
                    <a16:creationId xmlns:a16="http://schemas.microsoft.com/office/drawing/2014/main" id="{A72F11A5-F3CB-EBCF-33D6-C86B7A8F2542}"/>
                  </a:ext>
                </a:extLst>
              </p:cNvPr>
              <p:cNvSpPr/>
              <p:nvPr/>
            </p:nvSpPr>
            <p:spPr>
              <a:xfrm>
                <a:off x="14607437" y="3527986"/>
                <a:ext cx="3517900" cy="0"/>
              </a:xfrm>
              <a:custGeom>
                <a:avLst/>
                <a:gdLst/>
                <a:ahLst/>
                <a:cxnLst/>
                <a:rect l="l" t="t" r="r" b="b"/>
                <a:pathLst>
                  <a:path w="3517900">
                    <a:moveTo>
                      <a:pt x="0" y="0"/>
                    </a:moveTo>
                    <a:lnTo>
                      <a:pt x="3517390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41" name="object 35">
                <a:extLst>
                  <a:ext uri="{FF2B5EF4-FFF2-40B4-BE49-F238E27FC236}">
                    <a16:creationId xmlns:a16="http://schemas.microsoft.com/office/drawing/2014/main" id="{E9FBEA00-C184-8D4E-59C3-200048294678}"/>
                  </a:ext>
                </a:extLst>
              </p:cNvPr>
              <p:cNvSpPr/>
              <p:nvPr/>
            </p:nvSpPr>
            <p:spPr>
              <a:xfrm>
                <a:off x="18217817" y="3533965"/>
                <a:ext cx="251460" cy="277495"/>
              </a:xfrm>
              <a:custGeom>
                <a:avLst/>
                <a:gdLst/>
                <a:ahLst/>
                <a:cxnLst/>
                <a:rect l="l" t="t" r="r" b="b"/>
                <a:pathLst>
                  <a:path w="251459" h="277495">
                    <a:moveTo>
                      <a:pt x="0" y="0"/>
                    </a:moveTo>
                    <a:lnTo>
                      <a:pt x="48810" y="13860"/>
                    </a:lnTo>
                    <a:lnTo>
                      <a:pt x="94040" y="35055"/>
                    </a:lnTo>
                    <a:lnTo>
                      <a:pt x="134994" y="62889"/>
                    </a:lnTo>
                    <a:lnTo>
                      <a:pt x="170979" y="96669"/>
                    </a:lnTo>
                    <a:lnTo>
                      <a:pt x="201299" y="135700"/>
                    </a:lnTo>
                    <a:lnTo>
                      <a:pt x="225261" y="179287"/>
                    </a:lnTo>
                    <a:lnTo>
                      <a:pt x="242170" y="226736"/>
                    </a:lnTo>
                    <a:lnTo>
                      <a:pt x="251332" y="277352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42" name="object 36">
                <a:extLst>
                  <a:ext uri="{FF2B5EF4-FFF2-40B4-BE49-F238E27FC236}">
                    <a16:creationId xmlns:a16="http://schemas.microsoft.com/office/drawing/2014/main" id="{DB1DF6D1-9675-BFD5-7522-A5686653BAC9}"/>
                  </a:ext>
                </a:extLst>
              </p:cNvPr>
              <p:cNvSpPr/>
              <p:nvPr/>
            </p:nvSpPr>
            <p:spPr>
              <a:xfrm>
                <a:off x="18146040" y="3517524"/>
                <a:ext cx="335280" cy="335280"/>
              </a:xfrm>
              <a:custGeom>
                <a:avLst/>
                <a:gdLst/>
                <a:ahLst/>
                <a:cxnLst/>
                <a:rect l="l" t="t" r="r" b="b"/>
                <a:pathLst>
                  <a:path w="335280" h="335279">
                    <a:moveTo>
                      <a:pt x="20942" y="10464"/>
                    </a:moveTo>
                    <a:lnTo>
                      <a:pt x="17881" y="3060"/>
                    </a:lnTo>
                    <a:lnTo>
                      <a:pt x="10477" y="0"/>
                    </a:lnTo>
                    <a:lnTo>
                      <a:pt x="3073" y="3060"/>
                    </a:lnTo>
                    <a:lnTo>
                      <a:pt x="0" y="10464"/>
                    </a:lnTo>
                    <a:lnTo>
                      <a:pt x="3073" y="17868"/>
                    </a:lnTo>
                    <a:lnTo>
                      <a:pt x="10477" y="20942"/>
                    </a:lnTo>
                    <a:lnTo>
                      <a:pt x="17881" y="17868"/>
                    </a:lnTo>
                    <a:lnTo>
                      <a:pt x="20942" y="10464"/>
                    </a:lnTo>
                    <a:close/>
                  </a:path>
                  <a:path w="335280" h="335279">
                    <a:moveTo>
                      <a:pt x="335076" y="324599"/>
                    </a:moveTo>
                    <a:lnTo>
                      <a:pt x="332003" y="317195"/>
                    </a:lnTo>
                    <a:lnTo>
                      <a:pt x="324599" y="314121"/>
                    </a:lnTo>
                    <a:lnTo>
                      <a:pt x="317195" y="317195"/>
                    </a:lnTo>
                    <a:lnTo>
                      <a:pt x="314134" y="324599"/>
                    </a:lnTo>
                    <a:lnTo>
                      <a:pt x="317195" y="332003"/>
                    </a:lnTo>
                    <a:lnTo>
                      <a:pt x="324599" y="335064"/>
                    </a:lnTo>
                    <a:lnTo>
                      <a:pt x="332003" y="332003"/>
                    </a:lnTo>
                    <a:lnTo>
                      <a:pt x="335076" y="324599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grpSp>
          <p:nvGrpSpPr>
            <p:cNvPr id="28" name="object 37">
              <a:extLst>
                <a:ext uri="{FF2B5EF4-FFF2-40B4-BE49-F238E27FC236}">
                  <a16:creationId xmlns:a16="http://schemas.microsoft.com/office/drawing/2014/main" id="{628F4EC7-BC30-BDE7-8951-7946439D516A}"/>
                </a:ext>
              </a:extLst>
            </p:cNvPr>
            <p:cNvGrpSpPr/>
            <p:nvPr/>
          </p:nvGrpSpPr>
          <p:grpSpPr>
            <a:xfrm>
              <a:off x="11789849" y="2134641"/>
              <a:ext cx="55469" cy="1408236"/>
              <a:chOff x="18429794" y="3904825"/>
              <a:chExt cx="81915" cy="2079625"/>
            </a:xfrm>
          </p:grpSpPr>
          <p:sp>
            <p:nvSpPr>
              <p:cNvPr id="37" name="object 38">
                <a:extLst>
                  <a:ext uri="{FF2B5EF4-FFF2-40B4-BE49-F238E27FC236}">
                    <a16:creationId xmlns:a16="http://schemas.microsoft.com/office/drawing/2014/main" id="{02C09891-3C21-02C6-D9EB-D6D62ACAA23D}"/>
                  </a:ext>
                </a:extLst>
              </p:cNvPr>
              <p:cNvSpPr/>
              <p:nvPr/>
            </p:nvSpPr>
            <p:spPr>
              <a:xfrm>
                <a:off x="18470641" y="3904825"/>
                <a:ext cx="0" cy="1975485"/>
              </a:xfrm>
              <a:custGeom>
                <a:avLst/>
                <a:gdLst/>
                <a:ahLst/>
                <a:cxnLst/>
                <a:rect l="l" t="t" r="r" b="b"/>
                <a:pathLst>
                  <a:path h="1975485">
                    <a:moveTo>
                      <a:pt x="0" y="0"/>
                    </a:moveTo>
                    <a:lnTo>
                      <a:pt x="0" y="1975426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38" name="object 39">
                <a:extLst>
                  <a:ext uri="{FF2B5EF4-FFF2-40B4-BE49-F238E27FC236}">
                    <a16:creationId xmlns:a16="http://schemas.microsoft.com/office/drawing/2014/main" id="{151E7C42-172D-6132-7624-738CC62D3ECC}"/>
                  </a:ext>
                </a:extLst>
              </p:cNvPr>
              <p:cNvSpPr/>
              <p:nvPr/>
            </p:nvSpPr>
            <p:spPr>
              <a:xfrm>
                <a:off x="18460175" y="5901139"/>
                <a:ext cx="20955" cy="20955"/>
              </a:xfrm>
              <a:custGeom>
                <a:avLst/>
                <a:gdLst/>
                <a:ahLst/>
                <a:cxnLst/>
                <a:rect l="l" t="t" r="r" b="b"/>
                <a:pathLst>
                  <a:path w="20955" h="20954">
                    <a:moveTo>
                      <a:pt x="0" y="10470"/>
                    </a:moveTo>
                    <a:lnTo>
                      <a:pt x="3066" y="3066"/>
                    </a:lnTo>
                    <a:lnTo>
                      <a:pt x="10470" y="0"/>
                    </a:lnTo>
                    <a:lnTo>
                      <a:pt x="17874" y="3066"/>
                    </a:lnTo>
                    <a:lnTo>
                      <a:pt x="20941" y="10470"/>
                    </a:lnTo>
                    <a:lnTo>
                      <a:pt x="17874" y="17874"/>
                    </a:lnTo>
                    <a:lnTo>
                      <a:pt x="10470" y="20941"/>
                    </a:lnTo>
                    <a:lnTo>
                      <a:pt x="3066" y="17874"/>
                    </a:lnTo>
                    <a:lnTo>
                      <a:pt x="0" y="10470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39" name="object 40">
                <a:extLst>
                  <a:ext uri="{FF2B5EF4-FFF2-40B4-BE49-F238E27FC236}">
                    <a16:creationId xmlns:a16="http://schemas.microsoft.com/office/drawing/2014/main" id="{982D1E67-ADDC-FDB4-C1BE-B34D2B83D864}"/>
                  </a:ext>
                </a:extLst>
              </p:cNvPr>
              <p:cNvSpPr/>
              <p:nvPr/>
            </p:nvSpPr>
            <p:spPr>
              <a:xfrm>
                <a:off x="18429794" y="5871842"/>
                <a:ext cx="81915" cy="112395"/>
              </a:xfrm>
              <a:custGeom>
                <a:avLst/>
                <a:gdLst/>
                <a:ahLst/>
                <a:cxnLst/>
                <a:rect l="l" t="t" r="r" b="b"/>
                <a:pathLst>
                  <a:path w="81915" h="112395">
                    <a:moveTo>
                      <a:pt x="81704" y="0"/>
                    </a:moveTo>
                    <a:lnTo>
                      <a:pt x="0" y="0"/>
                    </a:lnTo>
                    <a:lnTo>
                      <a:pt x="40846" y="112268"/>
                    </a:lnTo>
                    <a:lnTo>
                      <a:pt x="81704" y="0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</p:grpSp>
      <p:sp>
        <p:nvSpPr>
          <p:cNvPr id="29" name="object 41">
            <a:extLst>
              <a:ext uri="{FF2B5EF4-FFF2-40B4-BE49-F238E27FC236}">
                <a16:creationId xmlns:a16="http://schemas.microsoft.com/office/drawing/2014/main" id="{F4C96F15-577B-B15C-203B-09FF3BC4F88D}"/>
              </a:ext>
            </a:extLst>
          </p:cNvPr>
          <p:cNvSpPr txBox="1"/>
          <p:nvPr/>
        </p:nvSpPr>
        <p:spPr>
          <a:xfrm>
            <a:off x="940753" y="2362087"/>
            <a:ext cx="1900582" cy="2488815"/>
          </a:xfrm>
          <a:prstGeom prst="rect">
            <a:avLst/>
          </a:prstGeom>
          <a:solidFill>
            <a:srgbClr val="E8E7EF"/>
          </a:solidFill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30" name="object 42">
            <a:extLst>
              <a:ext uri="{FF2B5EF4-FFF2-40B4-BE49-F238E27FC236}">
                <a16:creationId xmlns:a16="http://schemas.microsoft.com/office/drawing/2014/main" id="{B506E51F-5613-26E7-A353-A53E1C21727E}"/>
              </a:ext>
            </a:extLst>
          </p:cNvPr>
          <p:cNvSpPr txBox="1"/>
          <p:nvPr/>
        </p:nvSpPr>
        <p:spPr>
          <a:xfrm>
            <a:off x="3760393" y="2362087"/>
            <a:ext cx="1900582" cy="2488815"/>
          </a:xfrm>
          <a:prstGeom prst="rect">
            <a:avLst/>
          </a:prstGeom>
          <a:solidFill>
            <a:srgbClr val="E8E7EF"/>
          </a:solidFill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endParaRPr sz="1650" dirty="0">
              <a:latin typeface="Arial"/>
              <a:cs typeface="Arial"/>
            </a:endParaRPr>
          </a:p>
        </p:txBody>
      </p:sp>
      <p:sp>
        <p:nvSpPr>
          <p:cNvPr id="31" name="object 43">
            <a:extLst>
              <a:ext uri="{FF2B5EF4-FFF2-40B4-BE49-F238E27FC236}">
                <a16:creationId xmlns:a16="http://schemas.microsoft.com/office/drawing/2014/main" id="{5A505723-704E-CFFD-48A1-8EC4B72D17D6}"/>
              </a:ext>
            </a:extLst>
          </p:cNvPr>
          <p:cNvSpPr txBox="1"/>
          <p:nvPr/>
        </p:nvSpPr>
        <p:spPr>
          <a:xfrm>
            <a:off x="6580025" y="2362087"/>
            <a:ext cx="1900582" cy="2488815"/>
          </a:xfrm>
          <a:prstGeom prst="rect">
            <a:avLst/>
          </a:prstGeom>
          <a:solidFill>
            <a:srgbClr val="E8E7EF"/>
          </a:solidFill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endParaRPr sz="1650" dirty="0">
              <a:latin typeface="Arial"/>
              <a:cs typeface="Arial"/>
            </a:endParaRPr>
          </a:p>
        </p:txBody>
      </p:sp>
      <p:sp>
        <p:nvSpPr>
          <p:cNvPr id="32" name="object 44">
            <a:extLst>
              <a:ext uri="{FF2B5EF4-FFF2-40B4-BE49-F238E27FC236}">
                <a16:creationId xmlns:a16="http://schemas.microsoft.com/office/drawing/2014/main" id="{08E01FBA-D2DC-58F0-60E0-F5A1D7DBDB34}"/>
              </a:ext>
            </a:extLst>
          </p:cNvPr>
          <p:cNvSpPr txBox="1"/>
          <p:nvPr/>
        </p:nvSpPr>
        <p:spPr>
          <a:xfrm>
            <a:off x="9399665" y="2362087"/>
            <a:ext cx="1900582" cy="2488815"/>
          </a:xfrm>
          <a:prstGeom prst="rect">
            <a:avLst/>
          </a:prstGeom>
          <a:solidFill>
            <a:srgbClr val="E8E7EF"/>
          </a:solidFill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endParaRPr sz="1650" dirty="0">
              <a:latin typeface="Arial"/>
              <a:cs typeface="Arial"/>
            </a:endParaRPr>
          </a:p>
        </p:txBody>
      </p:sp>
      <p:sp>
        <p:nvSpPr>
          <p:cNvPr id="68" name="Picture Placeholder 4">
            <a:extLst>
              <a:ext uri="{FF2B5EF4-FFF2-40B4-BE49-F238E27FC236}">
                <a16:creationId xmlns:a16="http://schemas.microsoft.com/office/drawing/2014/main" id="{14ECFD4A-0700-35A8-B66C-B18241C1EF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118360" y="2750635"/>
            <a:ext cx="823912" cy="8239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69" name="Picture Placeholder 4">
            <a:extLst>
              <a:ext uri="{FF2B5EF4-FFF2-40B4-BE49-F238E27FC236}">
                <a16:creationId xmlns:a16="http://schemas.microsoft.com/office/drawing/2014/main" id="{92AEF7A3-2A0A-2B14-37C2-B829F7959BD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479088" y="2740569"/>
            <a:ext cx="823912" cy="8239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70" name="Picture Placeholder 4">
            <a:extLst>
              <a:ext uri="{FF2B5EF4-FFF2-40B4-BE49-F238E27FC236}">
                <a16:creationId xmlns:a16="http://schemas.microsoft.com/office/drawing/2014/main" id="{98FA5A22-04AD-EB8D-179A-35A9DB75145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98728" y="2750635"/>
            <a:ext cx="823912" cy="8239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72" name="Picture Placeholder 4">
            <a:extLst>
              <a:ext uri="{FF2B5EF4-FFF2-40B4-BE49-F238E27FC236}">
                <a16:creationId xmlns:a16="http://schemas.microsoft.com/office/drawing/2014/main" id="{F8186E98-2FE0-A4D5-DD37-7EE65394961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938000" y="2746418"/>
            <a:ext cx="823912" cy="8239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73" name="Content Placeholder 2">
            <a:extLst>
              <a:ext uri="{FF2B5EF4-FFF2-40B4-BE49-F238E27FC236}">
                <a16:creationId xmlns:a16="http://schemas.microsoft.com/office/drawing/2014/main" id="{4D77C58D-E444-0CF9-27E3-810F2AA1F9F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74196" y="3860379"/>
            <a:ext cx="1633697" cy="823913"/>
          </a:xfrm>
        </p:spPr>
        <p:txBody>
          <a:bodyPr>
            <a:noAutofit/>
          </a:bodyPr>
          <a:lstStyle>
            <a:lvl1pPr marL="0" indent="0" algn="ctr">
              <a:buNone/>
              <a:defRPr sz="1000"/>
            </a:lvl1pPr>
            <a:lvl2pPr marL="457200" indent="0" algn="ctr">
              <a:buNone/>
              <a:defRPr sz="1000"/>
            </a:lvl2pPr>
            <a:lvl3pPr marL="914400" indent="0" algn="ctr">
              <a:buNone/>
              <a:defRPr sz="1000"/>
            </a:lvl3pPr>
            <a:lvl4pPr marL="1371600" indent="0" algn="ctr">
              <a:buNone/>
              <a:defRPr sz="1000"/>
            </a:lvl4pPr>
            <a:lvl5pPr marL="1828800" indent="0" algn="ctr">
              <a:buNone/>
              <a:defRPr sz="1000"/>
            </a:lvl5pPr>
          </a:lstStyle>
          <a:p>
            <a:pPr lvl="0"/>
            <a:r>
              <a:rPr lang="en-US" dirty="0"/>
              <a:t>Copy to go here</a:t>
            </a:r>
          </a:p>
        </p:txBody>
      </p:sp>
      <p:sp>
        <p:nvSpPr>
          <p:cNvPr id="74" name="Content Placeholder 2">
            <a:extLst>
              <a:ext uri="{FF2B5EF4-FFF2-40B4-BE49-F238E27FC236}">
                <a16:creationId xmlns:a16="http://schemas.microsoft.com/office/drawing/2014/main" id="{24319FDF-4BC8-DA5F-A36B-A72E07F231B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3893836" y="3860379"/>
            <a:ext cx="1633697" cy="823913"/>
          </a:xfrm>
        </p:spPr>
        <p:txBody>
          <a:bodyPr>
            <a:noAutofit/>
          </a:bodyPr>
          <a:lstStyle>
            <a:lvl1pPr marL="0" indent="0" algn="ctr">
              <a:buNone/>
              <a:defRPr sz="1000"/>
            </a:lvl1pPr>
            <a:lvl2pPr marL="457200" indent="0" algn="ctr">
              <a:buNone/>
              <a:defRPr sz="1000"/>
            </a:lvl2pPr>
            <a:lvl3pPr marL="914400" indent="0" algn="ctr">
              <a:buNone/>
              <a:defRPr sz="1000"/>
            </a:lvl3pPr>
            <a:lvl4pPr marL="1371600" indent="0" algn="ctr">
              <a:buNone/>
              <a:defRPr sz="1000"/>
            </a:lvl4pPr>
            <a:lvl5pPr marL="1828800" indent="0" algn="ctr">
              <a:buNone/>
              <a:defRPr sz="1000"/>
            </a:lvl5pPr>
          </a:lstStyle>
          <a:p>
            <a:pPr lvl="0"/>
            <a:r>
              <a:rPr lang="en-US" dirty="0"/>
              <a:t>Copy to go here</a:t>
            </a:r>
          </a:p>
        </p:txBody>
      </p:sp>
      <p:sp>
        <p:nvSpPr>
          <p:cNvPr id="75" name="Content Placeholder 2">
            <a:extLst>
              <a:ext uri="{FF2B5EF4-FFF2-40B4-BE49-F238E27FC236}">
                <a16:creationId xmlns:a16="http://schemas.microsoft.com/office/drawing/2014/main" id="{42977D04-ADBD-7281-8389-427A84DE9B79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6713468" y="3860379"/>
            <a:ext cx="1633697" cy="823913"/>
          </a:xfrm>
        </p:spPr>
        <p:txBody>
          <a:bodyPr>
            <a:noAutofit/>
          </a:bodyPr>
          <a:lstStyle>
            <a:lvl1pPr marL="0" indent="0" algn="ctr">
              <a:buNone/>
              <a:defRPr sz="1000"/>
            </a:lvl1pPr>
            <a:lvl2pPr marL="457200" indent="0" algn="ctr">
              <a:buNone/>
              <a:defRPr sz="1000"/>
            </a:lvl2pPr>
            <a:lvl3pPr marL="914400" indent="0" algn="ctr">
              <a:buNone/>
              <a:defRPr sz="1000"/>
            </a:lvl3pPr>
            <a:lvl4pPr marL="1371600" indent="0" algn="ctr">
              <a:buNone/>
              <a:defRPr sz="1000"/>
            </a:lvl4pPr>
            <a:lvl5pPr marL="1828800" indent="0" algn="ctr">
              <a:buNone/>
              <a:defRPr sz="1000"/>
            </a:lvl5pPr>
          </a:lstStyle>
          <a:p>
            <a:pPr lvl="0"/>
            <a:r>
              <a:rPr lang="en-US" dirty="0"/>
              <a:t>Copy to go here</a:t>
            </a:r>
          </a:p>
        </p:txBody>
      </p:sp>
      <p:sp>
        <p:nvSpPr>
          <p:cNvPr id="76" name="Content Placeholder 2">
            <a:extLst>
              <a:ext uri="{FF2B5EF4-FFF2-40B4-BE49-F238E27FC236}">
                <a16:creationId xmlns:a16="http://schemas.microsoft.com/office/drawing/2014/main" id="{CAA4FEF9-F31D-8C24-2BF1-63A24C516295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9533108" y="3860379"/>
            <a:ext cx="1633697" cy="823913"/>
          </a:xfrm>
        </p:spPr>
        <p:txBody>
          <a:bodyPr>
            <a:noAutofit/>
          </a:bodyPr>
          <a:lstStyle>
            <a:lvl1pPr marL="0" indent="0" algn="ctr">
              <a:buNone/>
              <a:defRPr sz="1000"/>
            </a:lvl1pPr>
            <a:lvl2pPr marL="457200" indent="0" algn="ctr">
              <a:buNone/>
              <a:defRPr sz="1000"/>
            </a:lvl2pPr>
            <a:lvl3pPr marL="914400" indent="0" algn="ctr">
              <a:buNone/>
              <a:defRPr sz="1000"/>
            </a:lvl3pPr>
            <a:lvl4pPr marL="1371600" indent="0" algn="ctr">
              <a:buNone/>
              <a:defRPr sz="1000"/>
            </a:lvl4pPr>
            <a:lvl5pPr marL="1828800" indent="0" algn="ctr">
              <a:buNone/>
              <a:defRPr sz="1000"/>
            </a:lvl5pPr>
          </a:lstStyle>
          <a:p>
            <a:pPr lvl="0"/>
            <a:r>
              <a:rPr lang="en-US" dirty="0"/>
              <a:t>Copy to go here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80DFCAAE-784D-8441-000D-4AF12A9E1F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E1B59C-F715-3414-C3E9-F74A41D642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698863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pe - 1">
    <p:bg>
      <p:bgPr>
        <a:blipFill dpi="0" rotWithShape="1">
          <a:blip r:embed="rId2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7156A2-AAC0-9B45-FB5E-AE7B93E72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E2EDF93-AD54-4B15-96CC-7D9EFE4A99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 dirty="0"/>
              <a:t>Optional sub-hea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8886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pe - 2">
    <p:bg>
      <p:bgPr>
        <a:blipFill dpi="0" rotWithShape="1">
          <a:blip r:embed="rId2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50C8AC-A727-D801-86D0-1A331FCE8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A0AE534-194E-4CA1-802B-273FE7F77F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 dirty="0"/>
              <a:t>Optional sub-hea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9461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pe - 3">
    <p:bg>
      <p:bgPr>
        <a:blipFill dpi="0" rotWithShape="1">
          <a:blip r:embed="rId2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35536-6F0A-E1DD-ABEF-419B2B3F8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81BB100-EC1A-4A8C-8920-AE8CB0CCA5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 dirty="0"/>
              <a:t>Optional sub-hea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2760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pe - 4">
    <p:bg>
      <p:bgPr>
        <a:blipFill dpi="0" rotWithShape="1">
          <a:blip r:embed="rId2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10FC53-E775-BE26-8CEA-9917C525B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1E7D028-82C4-423F-BC42-3DB3483E23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 dirty="0"/>
              <a:t>Optional sub-hea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109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9A1030D-22C8-5F68-9B50-298D99C4F0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175" y="1170535"/>
            <a:ext cx="7301457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4A55360-4235-A19B-584F-72D1D033C7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175" y="1740535"/>
            <a:ext cx="5403308" cy="369332"/>
          </a:xfrm>
        </p:spPr>
        <p:txBody>
          <a:bodyPr anchor="ctr">
            <a:no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en-GB" dirty="0"/>
              <a:t>Subject Header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AAFBE375-306E-55C3-C9A5-5A771D29D6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4175" y="2164087"/>
            <a:ext cx="5403308" cy="1645913"/>
          </a:xfrm>
        </p:spPr>
        <p:txBody>
          <a:bodyPr anchor="t">
            <a:no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en-GB" dirty="0"/>
              <a:t>Copy</a:t>
            </a:r>
            <a:endParaRPr lang="en-US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64DB6396-FF36-173F-4120-40BE3E5249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4175" y="4085081"/>
            <a:ext cx="5403308" cy="369332"/>
          </a:xfrm>
        </p:spPr>
        <p:txBody>
          <a:bodyPr anchor="ctr">
            <a:no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en-GB" dirty="0"/>
              <a:t>Subject Header</a:t>
            </a:r>
            <a:endParaRPr lang="en-US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DEF3A942-1C22-F263-9D6F-5D98F82464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175" y="4508633"/>
            <a:ext cx="5403308" cy="1645913"/>
          </a:xfrm>
        </p:spPr>
        <p:txBody>
          <a:bodyPr anchor="t">
            <a:no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en-GB" dirty="0"/>
              <a:t>Copy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C0A8F83-7E33-1521-974A-F980172DB5C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70600" y="0"/>
            <a:ext cx="6118800" cy="6858000"/>
          </a:xfrm>
          <a:custGeom>
            <a:avLst/>
            <a:gdLst>
              <a:gd name="connsiteX0" fmla="*/ 3049853 w 6118800"/>
              <a:gd name="connsiteY0" fmla="*/ 0 h 6858000"/>
              <a:gd name="connsiteX1" fmla="*/ 6118800 w 6118800"/>
              <a:gd name="connsiteY1" fmla="*/ 0 h 6858000"/>
              <a:gd name="connsiteX2" fmla="*/ 6118800 w 6118800"/>
              <a:gd name="connsiteY2" fmla="*/ 6858000 h 6858000"/>
              <a:gd name="connsiteX3" fmla="*/ 0 w 61188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800" h="6858000">
                <a:moveTo>
                  <a:pt x="3049853" y="0"/>
                </a:moveTo>
                <a:lnTo>
                  <a:pt x="6118800" y="0"/>
                </a:lnTo>
                <a:lnTo>
                  <a:pt x="61188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05A3DA-FBE7-CD5B-5B77-C5C261C63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213579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_5">
    <p:bg>
      <p:bgPr>
        <a:gradFill>
          <a:gsLst>
            <a:gs pos="0">
              <a:schemeClr val="accent1"/>
            </a:gs>
            <a:gs pos="100000">
              <a:schemeClr val="accent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14E23-4D5A-C225-A302-6C9C57B22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643127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bg object 17">
            <a:extLst>
              <a:ext uri="{FF2B5EF4-FFF2-40B4-BE49-F238E27FC236}">
                <a16:creationId xmlns:a16="http://schemas.microsoft.com/office/drawing/2014/main" id="{5AE8EB3F-06DA-9660-72EB-9FC6330A4F34}"/>
              </a:ext>
            </a:extLst>
          </p:cNvPr>
          <p:cNvSpPr/>
          <p:nvPr userDrawn="1"/>
        </p:nvSpPr>
        <p:spPr>
          <a:xfrm>
            <a:off x="3791345" y="1"/>
            <a:ext cx="8400655" cy="6858000"/>
          </a:xfrm>
          <a:custGeom>
            <a:avLst/>
            <a:gdLst/>
            <a:ahLst/>
            <a:cxnLst/>
            <a:rect l="l" t="t" r="r" b="b"/>
            <a:pathLst>
              <a:path w="13852525" h="11308715">
                <a:moveTo>
                  <a:pt x="13663594" y="541274"/>
                </a:moveTo>
                <a:lnTo>
                  <a:pt x="13337552" y="886374"/>
                </a:lnTo>
                <a:lnTo>
                  <a:pt x="13458406" y="2559160"/>
                </a:lnTo>
                <a:lnTo>
                  <a:pt x="13784438" y="2214071"/>
                </a:lnTo>
                <a:lnTo>
                  <a:pt x="13663594" y="541274"/>
                </a:lnTo>
                <a:close/>
              </a:path>
              <a:path w="13852525" h="11308715">
                <a:moveTo>
                  <a:pt x="12862427" y="0"/>
                </a:moveTo>
                <a:lnTo>
                  <a:pt x="12842864" y="0"/>
                </a:lnTo>
                <a:lnTo>
                  <a:pt x="12849922" y="22955"/>
                </a:lnTo>
                <a:lnTo>
                  <a:pt x="12862427" y="0"/>
                </a:lnTo>
                <a:close/>
              </a:path>
              <a:path w="13852525" h="11308715">
                <a:moveTo>
                  <a:pt x="1356744" y="11181556"/>
                </a:moveTo>
                <a:lnTo>
                  <a:pt x="1317802" y="11206956"/>
                </a:lnTo>
                <a:lnTo>
                  <a:pt x="1288384" y="11308556"/>
                </a:lnTo>
                <a:lnTo>
                  <a:pt x="1318869" y="11308556"/>
                </a:lnTo>
                <a:lnTo>
                  <a:pt x="1356744" y="11181556"/>
                </a:lnTo>
                <a:close/>
              </a:path>
              <a:path w="13852525" h="11308715">
                <a:moveTo>
                  <a:pt x="2108543" y="10737056"/>
                </a:moveTo>
                <a:lnTo>
                  <a:pt x="1991771" y="10813256"/>
                </a:lnTo>
                <a:lnTo>
                  <a:pt x="1863059" y="11308556"/>
                </a:lnTo>
                <a:lnTo>
                  <a:pt x="1960085" y="11308556"/>
                </a:lnTo>
                <a:lnTo>
                  <a:pt x="2108543" y="10737056"/>
                </a:lnTo>
                <a:close/>
              </a:path>
              <a:path w="13852525" h="11308715">
                <a:moveTo>
                  <a:pt x="2860321" y="10292556"/>
                </a:moveTo>
                <a:lnTo>
                  <a:pt x="2665698" y="10419556"/>
                </a:lnTo>
                <a:lnTo>
                  <a:pt x="2464479" y="11308556"/>
                </a:lnTo>
                <a:lnTo>
                  <a:pt x="2631287" y="11308556"/>
                </a:lnTo>
                <a:lnTo>
                  <a:pt x="2860321" y="10292556"/>
                </a:lnTo>
                <a:close/>
              </a:path>
              <a:path w="13852525" h="11308715">
                <a:moveTo>
                  <a:pt x="4206856" y="10991056"/>
                </a:moveTo>
                <a:lnTo>
                  <a:pt x="3978528" y="11232356"/>
                </a:lnTo>
                <a:lnTo>
                  <a:pt x="3984302" y="11308556"/>
                </a:lnTo>
                <a:lnTo>
                  <a:pt x="4230674" y="11308556"/>
                </a:lnTo>
                <a:lnTo>
                  <a:pt x="4206856" y="10991056"/>
                </a:lnTo>
                <a:close/>
              </a:path>
              <a:path w="13852525" h="11308715">
                <a:moveTo>
                  <a:pt x="4844187" y="10356056"/>
                </a:moveTo>
                <a:lnTo>
                  <a:pt x="4550207" y="10660856"/>
                </a:lnTo>
                <a:lnTo>
                  <a:pt x="4626194" y="11308556"/>
                </a:lnTo>
                <a:lnTo>
                  <a:pt x="4956321" y="11308556"/>
                </a:lnTo>
                <a:lnTo>
                  <a:pt x="4844187" y="10356056"/>
                </a:lnTo>
                <a:close/>
              </a:path>
              <a:path w="13852525" h="11308715">
                <a:moveTo>
                  <a:pt x="5579023" y="11168856"/>
                </a:moveTo>
                <a:lnTo>
                  <a:pt x="5495758" y="11308556"/>
                </a:lnTo>
                <a:lnTo>
                  <a:pt x="5639011" y="11308556"/>
                </a:lnTo>
                <a:lnTo>
                  <a:pt x="5579023" y="11168856"/>
                </a:lnTo>
                <a:close/>
              </a:path>
              <a:path w="13852525" h="11308715">
                <a:moveTo>
                  <a:pt x="6049721" y="10356056"/>
                </a:moveTo>
                <a:lnTo>
                  <a:pt x="5788221" y="10825956"/>
                </a:lnTo>
                <a:lnTo>
                  <a:pt x="6010322" y="11308556"/>
                </a:lnTo>
                <a:lnTo>
                  <a:pt x="6481959" y="11308556"/>
                </a:lnTo>
                <a:lnTo>
                  <a:pt x="6049721" y="10356056"/>
                </a:lnTo>
                <a:close/>
              </a:path>
              <a:path w="13852525" h="11308715">
                <a:moveTo>
                  <a:pt x="6792159" y="10851356"/>
                </a:moveTo>
                <a:lnTo>
                  <a:pt x="6670546" y="11308556"/>
                </a:lnTo>
                <a:lnTo>
                  <a:pt x="7184035" y="11308556"/>
                </a:lnTo>
                <a:lnTo>
                  <a:pt x="6792159" y="10851356"/>
                </a:lnTo>
                <a:close/>
              </a:path>
              <a:path w="13852525" h="11308715">
                <a:moveTo>
                  <a:pt x="7666782" y="11130756"/>
                </a:moveTo>
                <a:lnTo>
                  <a:pt x="7667177" y="11308556"/>
                </a:lnTo>
                <a:lnTo>
                  <a:pt x="7938091" y="11308556"/>
                </a:lnTo>
                <a:lnTo>
                  <a:pt x="7666782" y="11130756"/>
                </a:lnTo>
                <a:close/>
              </a:path>
              <a:path w="13852525" h="11308715">
                <a:moveTo>
                  <a:pt x="9478281" y="10813256"/>
                </a:moveTo>
                <a:lnTo>
                  <a:pt x="7686195" y="10813256"/>
                </a:lnTo>
                <a:lnTo>
                  <a:pt x="8511158" y="11308556"/>
                </a:lnTo>
                <a:lnTo>
                  <a:pt x="8554593" y="11308556"/>
                </a:lnTo>
                <a:lnTo>
                  <a:pt x="8554315" y="10851356"/>
                </a:lnTo>
                <a:lnTo>
                  <a:pt x="9488564" y="10851356"/>
                </a:lnTo>
                <a:lnTo>
                  <a:pt x="9478281" y="10813256"/>
                </a:lnTo>
                <a:close/>
              </a:path>
              <a:path w="13852525" h="11308715">
                <a:moveTo>
                  <a:pt x="8619486" y="11168856"/>
                </a:moveTo>
                <a:lnTo>
                  <a:pt x="8658631" y="11308556"/>
                </a:lnTo>
                <a:lnTo>
                  <a:pt x="9042097" y="11308556"/>
                </a:lnTo>
                <a:lnTo>
                  <a:pt x="8619486" y="11168856"/>
                </a:lnTo>
                <a:close/>
              </a:path>
              <a:path w="13852525" h="11308715">
                <a:moveTo>
                  <a:pt x="9587425" y="10952956"/>
                </a:moveTo>
                <a:lnTo>
                  <a:pt x="9799117" y="11308556"/>
                </a:lnTo>
                <a:lnTo>
                  <a:pt x="10926641" y="11308556"/>
                </a:lnTo>
                <a:lnTo>
                  <a:pt x="10757923" y="11029156"/>
                </a:lnTo>
                <a:lnTo>
                  <a:pt x="9587425" y="10952956"/>
                </a:lnTo>
                <a:close/>
              </a:path>
              <a:path w="13852525" h="11308715">
                <a:moveTo>
                  <a:pt x="12527880" y="11029156"/>
                </a:moveTo>
                <a:lnTo>
                  <a:pt x="11234160" y="11219656"/>
                </a:lnTo>
                <a:lnTo>
                  <a:pt x="11329752" y="11308556"/>
                </a:lnTo>
                <a:lnTo>
                  <a:pt x="12829487" y="11308556"/>
                </a:lnTo>
                <a:lnTo>
                  <a:pt x="12527880" y="11029156"/>
                </a:lnTo>
                <a:close/>
              </a:path>
              <a:path w="13852525" h="11308715">
                <a:moveTo>
                  <a:pt x="7638137" y="10546556"/>
                </a:moveTo>
                <a:lnTo>
                  <a:pt x="6890020" y="10546556"/>
                </a:lnTo>
                <a:lnTo>
                  <a:pt x="6887821" y="10559256"/>
                </a:lnTo>
                <a:lnTo>
                  <a:pt x="7563947" y="11270456"/>
                </a:lnTo>
                <a:lnTo>
                  <a:pt x="7686195" y="10813256"/>
                </a:lnTo>
                <a:lnTo>
                  <a:pt x="9478281" y="10813256"/>
                </a:lnTo>
                <a:lnTo>
                  <a:pt x="9437147" y="10660856"/>
                </a:lnTo>
                <a:lnTo>
                  <a:pt x="10524376" y="10660856"/>
                </a:lnTo>
                <a:lnTo>
                  <a:pt x="10516980" y="10648156"/>
                </a:lnTo>
                <a:lnTo>
                  <a:pt x="8499343" y="10648156"/>
                </a:lnTo>
                <a:lnTo>
                  <a:pt x="8414694" y="10597356"/>
                </a:lnTo>
                <a:lnTo>
                  <a:pt x="7686069" y="10597356"/>
                </a:lnTo>
                <a:lnTo>
                  <a:pt x="7638137" y="10546556"/>
                </a:lnTo>
                <a:close/>
              </a:path>
              <a:path w="13852525" h="11308715">
                <a:moveTo>
                  <a:pt x="3612099" y="9848056"/>
                </a:moveTo>
                <a:lnTo>
                  <a:pt x="3339678" y="10013156"/>
                </a:lnTo>
                <a:lnTo>
                  <a:pt x="3128616" y="11143456"/>
                </a:lnTo>
                <a:lnTo>
                  <a:pt x="3401069" y="10978356"/>
                </a:lnTo>
                <a:lnTo>
                  <a:pt x="3612099" y="9848056"/>
                </a:lnTo>
                <a:close/>
              </a:path>
              <a:path w="13852525" h="11308715">
                <a:moveTo>
                  <a:pt x="9488564" y="10851356"/>
                </a:moveTo>
                <a:lnTo>
                  <a:pt x="8556681" y="10851356"/>
                </a:lnTo>
                <a:lnTo>
                  <a:pt x="9567405" y="11143456"/>
                </a:lnTo>
                <a:lnTo>
                  <a:pt x="9488564" y="10851356"/>
                </a:lnTo>
                <a:close/>
              </a:path>
              <a:path w="13852525" h="11308715">
                <a:moveTo>
                  <a:pt x="5481518" y="9708356"/>
                </a:moveTo>
                <a:lnTo>
                  <a:pt x="5121885" y="10089356"/>
                </a:lnTo>
                <a:lnTo>
                  <a:pt x="5288310" y="11092656"/>
                </a:lnTo>
                <a:lnTo>
                  <a:pt x="5647953" y="10711656"/>
                </a:lnTo>
                <a:lnTo>
                  <a:pt x="5481518" y="9708356"/>
                </a:lnTo>
                <a:close/>
              </a:path>
              <a:path w="13852525" h="11308715">
                <a:moveTo>
                  <a:pt x="13851902" y="10571956"/>
                </a:moveTo>
                <a:lnTo>
                  <a:pt x="13158437" y="10838656"/>
                </a:lnTo>
                <a:lnTo>
                  <a:pt x="13506593" y="11029156"/>
                </a:lnTo>
                <a:lnTo>
                  <a:pt x="13851902" y="10889456"/>
                </a:lnTo>
                <a:lnTo>
                  <a:pt x="13851902" y="10571956"/>
                </a:lnTo>
                <a:close/>
              </a:path>
              <a:path w="13852525" h="11308715">
                <a:moveTo>
                  <a:pt x="6806761" y="10102056"/>
                </a:moveTo>
                <a:lnTo>
                  <a:pt x="6214962" y="10102056"/>
                </a:lnTo>
                <a:lnTo>
                  <a:pt x="6210816" y="10114756"/>
                </a:lnTo>
                <a:lnTo>
                  <a:pt x="6660446" y="10965656"/>
                </a:lnTo>
                <a:lnTo>
                  <a:pt x="6890020" y="10546556"/>
                </a:lnTo>
                <a:lnTo>
                  <a:pt x="7638137" y="10546556"/>
                </a:lnTo>
                <a:lnTo>
                  <a:pt x="7458393" y="10356056"/>
                </a:lnTo>
                <a:lnTo>
                  <a:pt x="6941610" y="10356056"/>
                </a:lnTo>
                <a:lnTo>
                  <a:pt x="6806761" y="10102056"/>
                </a:lnTo>
                <a:close/>
              </a:path>
              <a:path w="13852525" h="11308715">
                <a:moveTo>
                  <a:pt x="11697937" y="10241756"/>
                </a:moveTo>
                <a:lnTo>
                  <a:pt x="10502769" y="10483056"/>
                </a:lnTo>
                <a:lnTo>
                  <a:pt x="10933949" y="10902156"/>
                </a:lnTo>
                <a:lnTo>
                  <a:pt x="12129107" y="10660856"/>
                </a:lnTo>
                <a:lnTo>
                  <a:pt x="11697937" y="10241756"/>
                </a:lnTo>
                <a:close/>
              </a:path>
              <a:path w="13852525" h="11308715">
                <a:moveTo>
                  <a:pt x="4363898" y="9390856"/>
                </a:moveTo>
                <a:lnTo>
                  <a:pt x="4013595" y="9619456"/>
                </a:lnTo>
                <a:lnTo>
                  <a:pt x="3860447" y="10673556"/>
                </a:lnTo>
                <a:lnTo>
                  <a:pt x="4210719" y="10457656"/>
                </a:lnTo>
                <a:lnTo>
                  <a:pt x="4363898" y="9390856"/>
                </a:lnTo>
                <a:close/>
              </a:path>
              <a:path w="13852525" h="11308715">
                <a:moveTo>
                  <a:pt x="10524376" y="10660856"/>
                </a:moveTo>
                <a:lnTo>
                  <a:pt x="9441827" y="10660856"/>
                </a:lnTo>
                <a:lnTo>
                  <a:pt x="10531773" y="10673556"/>
                </a:lnTo>
                <a:lnTo>
                  <a:pt x="10524376" y="10660856"/>
                </a:lnTo>
                <a:close/>
              </a:path>
              <a:path w="13852525" h="11308715">
                <a:moveTo>
                  <a:pt x="9253203" y="10025856"/>
                </a:moveTo>
                <a:lnTo>
                  <a:pt x="7875927" y="10025856"/>
                </a:lnTo>
                <a:lnTo>
                  <a:pt x="8408372" y="10305256"/>
                </a:lnTo>
                <a:lnTo>
                  <a:pt x="8499343" y="10648156"/>
                </a:lnTo>
                <a:lnTo>
                  <a:pt x="10516980" y="10648156"/>
                </a:lnTo>
                <a:lnTo>
                  <a:pt x="10413427" y="10470356"/>
                </a:lnTo>
                <a:lnTo>
                  <a:pt x="9327893" y="10470356"/>
                </a:lnTo>
                <a:lnTo>
                  <a:pt x="8539708" y="10241756"/>
                </a:lnTo>
                <a:lnTo>
                  <a:pt x="8539834" y="10038556"/>
                </a:lnTo>
                <a:lnTo>
                  <a:pt x="9256753" y="10038556"/>
                </a:lnTo>
                <a:lnTo>
                  <a:pt x="9253203" y="10025856"/>
                </a:lnTo>
                <a:close/>
              </a:path>
              <a:path w="13852525" h="11308715">
                <a:moveTo>
                  <a:pt x="9207049" y="9860756"/>
                </a:moveTo>
                <a:lnTo>
                  <a:pt x="7259580" y="9860756"/>
                </a:lnTo>
                <a:lnTo>
                  <a:pt x="7685860" y="10254456"/>
                </a:lnTo>
                <a:lnTo>
                  <a:pt x="7686069" y="10597356"/>
                </a:lnTo>
                <a:lnTo>
                  <a:pt x="8414694" y="10597356"/>
                </a:lnTo>
                <a:lnTo>
                  <a:pt x="7822149" y="10241756"/>
                </a:lnTo>
                <a:lnTo>
                  <a:pt x="7875927" y="10025856"/>
                </a:lnTo>
                <a:lnTo>
                  <a:pt x="9253203" y="10025856"/>
                </a:lnTo>
                <a:lnTo>
                  <a:pt x="9207049" y="9860756"/>
                </a:lnTo>
                <a:close/>
              </a:path>
              <a:path w="13852525" h="11308715">
                <a:moveTo>
                  <a:pt x="13475066" y="9759156"/>
                </a:moveTo>
                <a:lnTo>
                  <a:pt x="12227920" y="10305256"/>
                </a:lnTo>
                <a:lnTo>
                  <a:pt x="12673708" y="10546556"/>
                </a:lnTo>
                <a:lnTo>
                  <a:pt x="13851902" y="10025856"/>
                </a:lnTo>
                <a:lnTo>
                  <a:pt x="13851902" y="9962356"/>
                </a:lnTo>
                <a:lnTo>
                  <a:pt x="13475066" y="9759156"/>
                </a:lnTo>
                <a:close/>
              </a:path>
              <a:path w="13852525" h="11308715">
                <a:moveTo>
                  <a:pt x="918223" y="9301956"/>
                </a:moveTo>
                <a:lnTo>
                  <a:pt x="874706" y="9314656"/>
                </a:lnTo>
                <a:lnTo>
                  <a:pt x="182915" y="10495756"/>
                </a:lnTo>
                <a:lnTo>
                  <a:pt x="226443" y="10470356"/>
                </a:lnTo>
                <a:lnTo>
                  <a:pt x="918223" y="9301956"/>
                </a:lnTo>
                <a:close/>
              </a:path>
              <a:path w="13852525" h="11308715">
                <a:moveTo>
                  <a:pt x="9256753" y="10038556"/>
                </a:moveTo>
                <a:lnTo>
                  <a:pt x="8539834" y="10038556"/>
                </a:lnTo>
                <a:lnTo>
                  <a:pt x="9147072" y="10152856"/>
                </a:lnTo>
                <a:lnTo>
                  <a:pt x="9327893" y="10470356"/>
                </a:lnTo>
                <a:lnTo>
                  <a:pt x="10413427" y="10470356"/>
                </a:lnTo>
                <a:lnTo>
                  <a:pt x="10272891" y="10229056"/>
                </a:lnTo>
                <a:lnTo>
                  <a:pt x="10279707" y="10229056"/>
                </a:lnTo>
                <a:lnTo>
                  <a:pt x="10877850" y="10076656"/>
                </a:lnTo>
                <a:lnTo>
                  <a:pt x="10113807" y="10076656"/>
                </a:lnTo>
                <a:lnTo>
                  <a:pt x="9263854" y="10063956"/>
                </a:lnTo>
                <a:lnTo>
                  <a:pt x="9256753" y="10038556"/>
                </a:lnTo>
                <a:close/>
              </a:path>
              <a:path w="13852525" h="11308715">
                <a:moveTo>
                  <a:pt x="6217188" y="9505156"/>
                </a:moveTo>
                <a:lnTo>
                  <a:pt x="5699250" y="9505156"/>
                </a:lnTo>
                <a:lnTo>
                  <a:pt x="5693554" y="9517856"/>
                </a:lnTo>
                <a:lnTo>
                  <a:pt x="5899569" y="10432256"/>
                </a:lnTo>
                <a:lnTo>
                  <a:pt x="6214962" y="10102056"/>
                </a:lnTo>
                <a:lnTo>
                  <a:pt x="6806761" y="10102056"/>
                </a:lnTo>
                <a:lnTo>
                  <a:pt x="6712367" y="9924256"/>
                </a:lnTo>
                <a:lnTo>
                  <a:pt x="6311860" y="9924256"/>
                </a:lnTo>
                <a:lnTo>
                  <a:pt x="6217188" y="9505156"/>
                </a:lnTo>
                <a:close/>
              </a:path>
              <a:path w="13852525" h="11308715">
                <a:moveTo>
                  <a:pt x="9853036" y="9543256"/>
                </a:moveTo>
                <a:lnTo>
                  <a:pt x="6729292" y="9543256"/>
                </a:lnTo>
                <a:lnTo>
                  <a:pt x="7027000" y="10025856"/>
                </a:lnTo>
                <a:lnTo>
                  <a:pt x="6941610" y="10356056"/>
                </a:lnTo>
                <a:lnTo>
                  <a:pt x="7458393" y="10356056"/>
                </a:lnTo>
                <a:lnTo>
                  <a:pt x="7158818" y="10038556"/>
                </a:lnTo>
                <a:lnTo>
                  <a:pt x="7259580" y="9860756"/>
                </a:lnTo>
                <a:lnTo>
                  <a:pt x="9207049" y="9860756"/>
                </a:lnTo>
                <a:lnTo>
                  <a:pt x="9850537" y="9809956"/>
                </a:lnTo>
                <a:lnTo>
                  <a:pt x="11233329" y="9809956"/>
                </a:lnTo>
                <a:lnTo>
                  <a:pt x="11116350" y="9695656"/>
                </a:lnTo>
                <a:lnTo>
                  <a:pt x="9943571" y="9695656"/>
                </a:lnTo>
                <a:lnTo>
                  <a:pt x="9853036" y="9543256"/>
                </a:lnTo>
                <a:close/>
              </a:path>
              <a:path w="13852525" h="11308715">
                <a:moveTo>
                  <a:pt x="1727580" y="9060656"/>
                </a:moveTo>
                <a:lnTo>
                  <a:pt x="1599951" y="9111456"/>
                </a:lnTo>
                <a:lnTo>
                  <a:pt x="979394" y="10229056"/>
                </a:lnTo>
                <a:lnTo>
                  <a:pt x="1107013" y="10190956"/>
                </a:lnTo>
                <a:lnTo>
                  <a:pt x="1727580" y="9060656"/>
                </a:lnTo>
                <a:close/>
              </a:path>
              <a:path w="13852525" h="11308715">
                <a:moveTo>
                  <a:pt x="5115655" y="8946356"/>
                </a:moveTo>
                <a:lnTo>
                  <a:pt x="4687553" y="9213056"/>
                </a:lnTo>
                <a:lnTo>
                  <a:pt x="4592258" y="10203656"/>
                </a:lnTo>
                <a:lnTo>
                  <a:pt x="5020360" y="9936956"/>
                </a:lnTo>
                <a:lnTo>
                  <a:pt x="5115655" y="8946356"/>
                </a:lnTo>
                <a:close/>
              </a:path>
              <a:path w="13852525" h="11308715">
                <a:moveTo>
                  <a:pt x="11233329" y="9809956"/>
                </a:moveTo>
                <a:lnTo>
                  <a:pt x="9850537" y="9809956"/>
                </a:lnTo>
                <a:lnTo>
                  <a:pt x="10113807" y="10076656"/>
                </a:lnTo>
                <a:lnTo>
                  <a:pt x="10877850" y="10076656"/>
                </a:lnTo>
                <a:lnTo>
                  <a:pt x="11376302" y="9949656"/>
                </a:lnTo>
                <a:lnTo>
                  <a:pt x="11233329" y="9809956"/>
                </a:lnTo>
                <a:close/>
              </a:path>
              <a:path w="13852525" h="11308715">
                <a:moveTo>
                  <a:pt x="12433862" y="9213056"/>
                </a:moveTo>
                <a:lnTo>
                  <a:pt x="11297383" y="9771856"/>
                </a:lnTo>
                <a:lnTo>
                  <a:pt x="11840833" y="10063956"/>
                </a:lnTo>
                <a:lnTo>
                  <a:pt x="12977322" y="9505156"/>
                </a:lnTo>
                <a:lnTo>
                  <a:pt x="12433862" y="9213056"/>
                </a:lnTo>
                <a:close/>
              </a:path>
              <a:path w="13852525" h="11308715">
                <a:moveTo>
                  <a:pt x="2536927" y="8832056"/>
                </a:moveTo>
                <a:lnTo>
                  <a:pt x="2325217" y="8908256"/>
                </a:lnTo>
                <a:lnTo>
                  <a:pt x="1775893" y="9975056"/>
                </a:lnTo>
                <a:lnTo>
                  <a:pt x="1987583" y="9911556"/>
                </a:lnTo>
                <a:lnTo>
                  <a:pt x="2536927" y="8832056"/>
                </a:lnTo>
                <a:close/>
              </a:path>
              <a:path w="13852525" h="11308715">
                <a:moveTo>
                  <a:pt x="10489852" y="9111456"/>
                </a:moveTo>
                <a:lnTo>
                  <a:pt x="6315661" y="9111456"/>
                </a:lnTo>
                <a:lnTo>
                  <a:pt x="6472200" y="9644856"/>
                </a:lnTo>
                <a:lnTo>
                  <a:pt x="6311860" y="9924256"/>
                </a:lnTo>
                <a:lnTo>
                  <a:pt x="6712367" y="9924256"/>
                </a:lnTo>
                <a:lnTo>
                  <a:pt x="6591003" y="9695656"/>
                </a:lnTo>
                <a:lnTo>
                  <a:pt x="6729292" y="9543256"/>
                </a:lnTo>
                <a:lnTo>
                  <a:pt x="9853036" y="9543256"/>
                </a:lnTo>
                <a:lnTo>
                  <a:pt x="9830402" y="9505156"/>
                </a:lnTo>
                <a:lnTo>
                  <a:pt x="10466644" y="9289256"/>
                </a:lnTo>
                <a:lnTo>
                  <a:pt x="11532261" y="9289256"/>
                </a:lnTo>
                <a:lnTo>
                  <a:pt x="11783015" y="9149556"/>
                </a:lnTo>
                <a:lnTo>
                  <a:pt x="10527909" y="9149556"/>
                </a:lnTo>
                <a:lnTo>
                  <a:pt x="10489852" y="9111456"/>
                </a:lnTo>
                <a:close/>
              </a:path>
              <a:path w="13852525" h="11308715">
                <a:moveTo>
                  <a:pt x="5854782" y="8819356"/>
                </a:moveTo>
                <a:lnTo>
                  <a:pt x="5368265" y="8819356"/>
                </a:lnTo>
                <a:lnTo>
                  <a:pt x="5361413" y="8821283"/>
                </a:lnTo>
                <a:lnTo>
                  <a:pt x="5324057" y="9746456"/>
                </a:lnTo>
                <a:lnTo>
                  <a:pt x="5699250" y="9505156"/>
                </a:lnTo>
                <a:lnTo>
                  <a:pt x="6217188" y="9505156"/>
                </a:lnTo>
                <a:lnTo>
                  <a:pt x="6185631" y="9365456"/>
                </a:lnTo>
                <a:lnTo>
                  <a:pt x="5832366" y="9365456"/>
                </a:lnTo>
                <a:lnTo>
                  <a:pt x="5854782" y="8819356"/>
                </a:lnTo>
                <a:close/>
              </a:path>
              <a:path w="13852525" h="11308715">
                <a:moveTo>
                  <a:pt x="3346275" y="8603456"/>
                </a:moveTo>
                <a:lnTo>
                  <a:pt x="3050472" y="8692356"/>
                </a:lnTo>
                <a:lnTo>
                  <a:pt x="2572382" y="9721056"/>
                </a:lnTo>
                <a:lnTo>
                  <a:pt x="2868174" y="9619456"/>
                </a:lnTo>
                <a:lnTo>
                  <a:pt x="3346275" y="8603456"/>
                </a:lnTo>
                <a:close/>
              </a:path>
              <a:path w="13852525" h="11308715">
                <a:moveTo>
                  <a:pt x="11532261" y="9289256"/>
                </a:moveTo>
                <a:lnTo>
                  <a:pt x="10466644" y="9289256"/>
                </a:lnTo>
                <a:lnTo>
                  <a:pt x="10798718" y="9467056"/>
                </a:lnTo>
                <a:lnTo>
                  <a:pt x="9943571" y="9695656"/>
                </a:lnTo>
                <a:lnTo>
                  <a:pt x="11116350" y="9695656"/>
                </a:lnTo>
                <a:lnTo>
                  <a:pt x="10999371" y="9581356"/>
                </a:lnTo>
                <a:lnTo>
                  <a:pt x="11007958" y="9581356"/>
                </a:lnTo>
                <a:lnTo>
                  <a:pt x="11532261" y="9289256"/>
                </a:lnTo>
                <a:close/>
              </a:path>
              <a:path w="13852525" h="11308715">
                <a:moveTo>
                  <a:pt x="4155632" y="8374856"/>
                </a:moveTo>
                <a:lnTo>
                  <a:pt x="3775727" y="8489156"/>
                </a:lnTo>
                <a:lnTo>
                  <a:pt x="3368860" y="9454356"/>
                </a:lnTo>
                <a:lnTo>
                  <a:pt x="3748765" y="9340056"/>
                </a:lnTo>
                <a:lnTo>
                  <a:pt x="4155632" y="8374856"/>
                </a:lnTo>
                <a:close/>
              </a:path>
              <a:path w="13852525" h="11308715">
                <a:moveTo>
                  <a:pt x="11727822" y="8590756"/>
                </a:moveTo>
                <a:lnTo>
                  <a:pt x="6039638" y="8590756"/>
                </a:lnTo>
                <a:lnTo>
                  <a:pt x="6052663" y="9136856"/>
                </a:lnTo>
                <a:lnTo>
                  <a:pt x="5832366" y="9365456"/>
                </a:lnTo>
                <a:lnTo>
                  <a:pt x="6185631" y="9365456"/>
                </a:lnTo>
                <a:lnTo>
                  <a:pt x="6151205" y="9213056"/>
                </a:lnTo>
                <a:lnTo>
                  <a:pt x="6315661" y="9111456"/>
                </a:lnTo>
                <a:lnTo>
                  <a:pt x="10489852" y="9111456"/>
                </a:lnTo>
                <a:lnTo>
                  <a:pt x="10362993" y="8984456"/>
                </a:lnTo>
                <a:lnTo>
                  <a:pt x="10946389" y="8603456"/>
                </a:lnTo>
                <a:lnTo>
                  <a:pt x="11714521" y="8603456"/>
                </a:lnTo>
                <a:lnTo>
                  <a:pt x="11727822" y="8590756"/>
                </a:lnTo>
                <a:close/>
              </a:path>
              <a:path w="13852525" h="11308715">
                <a:moveTo>
                  <a:pt x="13851902" y="8451056"/>
                </a:moveTo>
                <a:lnTo>
                  <a:pt x="12983206" y="9124156"/>
                </a:lnTo>
                <a:lnTo>
                  <a:pt x="13494719" y="9251156"/>
                </a:lnTo>
                <a:lnTo>
                  <a:pt x="13851902" y="8959056"/>
                </a:lnTo>
                <a:lnTo>
                  <a:pt x="13851902" y="8451056"/>
                </a:lnTo>
                <a:close/>
              </a:path>
              <a:path w="13852525" h="11308715">
                <a:moveTo>
                  <a:pt x="4964979" y="8133556"/>
                </a:moveTo>
                <a:lnTo>
                  <a:pt x="4500993" y="8285956"/>
                </a:lnTo>
                <a:lnTo>
                  <a:pt x="4165328" y="9200356"/>
                </a:lnTo>
                <a:lnTo>
                  <a:pt x="4629345" y="9047956"/>
                </a:lnTo>
                <a:lnTo>
                  <a:pt x="4964979" y="8133556"/>
                </a:lnTo>
                <a:close/>
              </a:path>
              <a:path w="13852525" h="11308715">
                <a:moveTo>
                  <a:pt x="11714521" y="8603456"/>
                </a:moveTo>
                <a:lnTo>
                  <a:pt x="10946389" y="8603456"/>
                </a:lnTo>
                <a:lnTo>
                  <a:pt x="11327843" y="8692356"/>
                </a:lnTo>
                <a:lnTo>
                  <a:pt x="10527909" y="9149556"/>
                </a:lnTo>
                <a:lnTo>
                  <a:pt x="11783015" y="9149556"/>
                </a:lnTo>
                <a:lnTo>
                  <a:pt x="12033769" y="9009856"/>
                </a:lnTo>
                <a:lnTo>
                  <a:pt x="11558349" y="8743156"/>
                </a:lnTo>
                <a:lnTo>
                  <a:pt x="11568202" y="8743156"/>
                </a:lnTo>
                <a:lnTo>
                  <a:pt x="11714521" y="8603456"/>
                </a:lnTo>
                <a:close/>
              </a:path>
              <a:path w="13852525" h="11308715">
                <a:moveTo>
                  <a:pt x="12901020" y="7993856"/>
                </a:moveTo>
                <a:lnTo>
                  <a:pt x="11907469" y="8857456"/>
                </a:lnTo>
                <a:lnTo>
                  <a:pt x="12531471" y="8997156"/>
                </a:lnTo>
                <a:lnTo>
                  <a:pt x="13525022" y="8133556"/>
                </a:lnTo>
                <a:lnTo>
                  <a:pt x="12901020" y="7993856"/>
                </a:lnTo>
                <a:close/>
              </a:path>
              <a:path w="13852525" h="11308715">
                <a:moveTo>
                  <a:pt x="5725039" y="8070056"/>
                </a:moveTo>
                <a:lnTo>
                  <a:pt x="5233589" y="8070056"/>
                </a:lnTo>
                <a:lnTo>
                  <a:pt x="5226178" y="8070286"/>
                </a:lnTo>
                <a:lnTo>
                  <a:pt x="4961838" y="8933656"/>
                </a:lnTo>
                <a:lnTo>
                  <a:pt x="5361413" y="8821283"/>
                </a:lnTo>
                <a:lnTo>
                  <a:pt x="5361491" y="8819356"/>
                </a:lnTo>
                <a:lnTo>
                  <a:pt x="5854782" y="8819356"/>
                </a:lnTo>
                <a:lnTo>
                  <a:pt x="5858953" y="8717756"/>
                </a:lnTo>
                <a:lnTo>
                  <a:pt x="5526627" y="8717756"/>
                </a:lnTo>
                <a:lnTo>
                  <a:pt x="5725039" y="8070056"/>
                </a:lnTo>
                <a:close/>
              </a:path>
              <a:path w="13852525" h="11308715">
                <a:moveTo>
                  <a:pt x="5368265" y="8819356"/>
                </a:moveTo>
                <a:lnTo>
                  <a:pt x="5361491" y="8819356"/>
                </a:lnTo>
                <a:lnTo>
                  <a:pt x="5361413" y="8821283"/>
                </a:lnTo>
                <a:lnTo>
                  <a:pt x="5368265" y="8819356"/>
                </a:lnTo>
                <a:close/>
              </a:path>
              <a:path w="13852525" h="11308715">
                <a:moveTo>
                  <a:pt x="11034068" y="8031956"/>
                </a:moveTo>
                <a:lnTo>
                  <a:pt x="5911840" y="8031956"/>
                </a:lnTo>
                <a:lnTo>
                  <a:pt x="5788671" y="8552656"/>
                </a:lnTo>
                <a:lnTo>
                  <a:pt x="5526627" y="8717756"/>
                </a:lnTo>
                <a:lnTo>
                  <a:pt x="5858953" y="8717756"/>
                </a:lnTo>
                <a:lnTo>
                  <a:pt x="5861559" y="8654256"/>
                </a:lnTo>
                <a:lnTo>
                  <a:pt x="6039638" y="8590756"/>
                </a:lnTo>
                <a:lnTo>
                  <a:pt x="11727822" y="8590756"/>
                </a:lnTo>
                <a:lnTo>
                  <a:pt x="11887442" y="8438356"/>
                </a:lnTo>
                <a:lnTo>
                  <a:pt x="10969582" y="8438356"/>
                </a:lnTo>
                <a:lnTo>
                  <a:pt x="10761483" y="8324056"/>
                </a:lnTo>
                <a:lnTo>
                  <a:pt x="11034068" y="8031956"/>
                </a:lnTo>
                <a:close/>
              </a:path>
              <a:path w="13852525" h="11308715">
                <a:moveTo>
                  <a:pt x="11954577" y="7790656"/>
                </a:moveTo>
                <a:lnTo>
                  <a:pt x="11654158" y="7790656"/>
                </a:lnTo>
                <a:lnTo>
                  <a:pt x="10969582" y="8438356"/>
                </a:lnTo>
                <a:lnTo>
                  <a:pt x="11887442" y="8438356"/>
                </a:lnTo>
                <a:lnTo>
                  <a:pt x="12446113" y="7904956"/>
                </a:lnTo>
                <a:lnTo>
                  <a:pt x="11954577" y="7790656"/>
                </a:lnTo>
                <a:close/>
              </a:path>
              <a:path w="13852525" h="11308715">
                <a:moveTo>
                  <a:pt x="979970" y="7396956"/>
                </a:moveTo>
                <a:lnTo>
                  <a:pt x="935060" y="7409656"/>
                </a:lnTo>
                <a:lnTo>
                  <a:pt x="0" y="8349456"/>
                </a:lnTo>
                <a:lnTo>
                  <a:pt x="44899" y="8336756"/>
                </a:lnTo>
                <a:lnTo>
                  <a:pt x="979970" y="7396956"/>
                </a:lnTo>
                <a:close/>
              </a:path>
              <a:path w="13852525" h="11308715">
                <a:moveTo>
                  <a:pt x="1789442" y="7384256"/>
                </a:moveTo>
                <a:lnTo>
                  <a:pt x="1660137" y="7396956"/>
                </a:lnTo>
                <a:lnTo>
                  <a:pt x="804153" y="8298656"/>
                </a:lnTo>
                <a:lnTo>
                  <a:pt x="933427" y="8298656"/>
                </a:lnTo>
                <a:lnTo>
                  <a:pt x="1789442" y="7384256"/>
                </a:lnTo>
                <a:close/>
              </a:path>
              <a:path w="13852525" h="11308715">
                <a:moveTo>
                  <a:pt x="2598884" y="7371556"/>
                </a:moveTo>
                <a:lnTo>
                  <a:pt x="2385225" y="7384256"/>
                </a:lnTo>
                <a:lnTo>
                  <a:pt x="1608296" y="8260556"/>
                </a:lnTo>
                <a:lnTo>
                  <a:pt x="1821944" y="8247856"/>
                </a:lnTo>
                <a:lnTo>
                  <a:pt x="2598884" y="7371556"/>
                </a:lnTo>
                <a:close/>
              </a:path>
              <a:path w="13852525" h="11308715">
                <a:moveTo>
                  <a:pt x="3408325" y="7358856"/>
                </a:moveTo>
                <a:lnTo>
                  <a:pt x="3110324" y="7371556"/>
                </a:lnTo>
                <a:lnTo>
                  <a:pt x="2412450" y="8222456"/>
                </a:lnTo>
                <a:lnTo>
                  <a:pt x="2710472" y="8197056"/>
                </a:lnTo>
                <a:lnTo>
                  <a:pt x="3408325" y="7358856"/>
                </a:lnTo>
                <a:close/>
              </a:path>
              <a:path w="13852525" h="11308715">
                <a:moveTo>
                  <a:pt x="4217798" y="7346156"/>
                </a:moveTo>
                <a:lnTo>
                  <a:pt x="3835401" y="7358856"/>
                </a:lnTo>
                <a:lnTo>
                  <a:pt x="3216593" y="8171656"/>
                </a:lnTo>
                <a:lnTo>
                  <a:pt x="3598979" y="8158956"/>
                </a:lnTo>
                <a:lnTo>
                  <a:pt x="4217798" y="7346156"/>
                </a:lnTo>
                <a:close/>
              </a:path>
              <a:path w="13852525" h="11308715">
                <a:moveTo>
                  <a:pt x="5027260" y="7333456"/>
                </a:moveTo>
                <a:lnTo>
                  <a:pt x="4560478" y="7346156"/>
                </a:lnTo>
                <a:lnTo>
                  <a:pt x="4020736" y="8133556"/>
                </a:lnTo>
                <a:lnTo>
                  <a:pt x="4487507" y="8108156"/>
                </a:lnTo>
                <a:lnTo>
                  <a:pt x="5027260" y="7333456"/>
                </a:lnTo>
                <a:close/>
              </a:path>
              <a:path w="13852525" h="11308715">
                <a:moveTo>
                  <a:pt x="11539800" y="6863556"/>
                </a:moveTo>
                <a:lnTo>
                  <a:pt x="5944960" y="6863556"/>
                </a:lnTo>
                <a:lnTo>
                  <a:pt x="6091165" y="6939756"/>
                </a:lnTo>
                <a:lnTo>
                  <a:pt x="5750913" y="7320756"/>
                </a:lnTo>
                <a:lnTo>
                  <a:pt x="5465456" y="7333456"/>
                </a:lnTo>
                <a:lnTo>
                  <a:pt x="5285566" y="7333456"/>
                </a:lnTo>
                <a:lnTo>
                  <a:pt x="4824879" y="8082756"/>
                </a:lnTo>
                <a:lnTo>
                  <a:pt x="5226178" y="8070286"/>
                </a:lnTo>
                <a:lnTo>
                  <a:pt x="5226249" y="8070056"/>
                </a:lnTo>
                <a:lnTo>
                  <a:pt x="5725039" y="8070056"/>
                </a:lnTo>
                <a:lnTo>
                  <a:pt x="5732820" y="8044656"/>
                </a:lnTo>
                <a:lnTo>
                  <a:pt x="5911840" y="8031956"/>
                </a:lnTo>
                <a:lnTo>
                  <a:pt x="11034068" y="8031956"/>
                </a:lnTo>
                <a:lnTo>
                  <a:pt x="11045920" y="8019256"/>
                </a:lnTo>
                <a:lnTo>
                  <a:pt x="5405133" y="8019256"/>
                </a:lnTo>
                <a:lnTo>
                  <a:pt x="5764379" y="7435056"/>
                </a:lnTo>
                <a:lnTo>
                  <a:pt x="11064475" y="7435056"/>
                </a:lnTo>
                <a:lnTo>
                  <a:pt x="11337424" y="6927056"/>
                </a:lnTo>
                <a:lnTo>
                  <a:pt x="11539800" y="6863556"/>
                </a:lnTo>
                <a:close/>
              </a:path>
              <a:path w="13852525" h="11308715">
                <a:moveTo>
                  <a:pt x="5233589" y="8070056"/>
                </a:moveTo>
                <a:lnTo>
                  <a:pt x="5226249" y="8070056"/>
                </a:lnTo>
                <a:lnTo>
                  <a:pt x="5226178" y="8070286"/>
                </a:lnTo>
                <a:lnTo>
                  <a:pt x="5233589" y="8070056"/>
                </a:lnTo>
                <a:close/>
              </a:path>
              <a:path w="13852525" h="11308715">
                <a:moveTo>
                  <a:pt x="11064475" y="7435056"/>
                </a:moveTo>
                <a:lnTo>
                  <a:pt x="5764379" y="7435056"/>
                </a:lnTo>
                <a:lnTo>
                  <a:pt x="5932290" y="7473156"/>
                </a:lnTo>
                <a:lnTo>
                  <a:pt x="5689010" y="7930356"/>
                </a:lnTo>
                <a:lnTo>
                  <a:pt x="5405133" y="8019256"/>
                </a:lnTo>
                <a:lnTo>
                  <a:pt x="11045920" y="8019256"/>
                </a:lnTo>
                <a:lnTo>
                  <a:pt x="11247395" y="7803356"/>
                </a:lnTo>
                <a:lnTo>
                  <a:pt x="11654158" y="7790656"/>
                </a:lnTo>
                <a:lnTo>
                  <a:pt x="11954577" y="7790656"/>
                </a:lnTo>
                <a:lnTo>
                  <a:pt x="11899962" y="7777956"/>
                </a:lnTo>
                <a:lnTo>
                  <a:pt x="11910475" y="7777956"/>
                </a:lnTo>
                <a:lnTo>
                  <a:pt x="11996729" y="7638256"/>
                </a:lnTo>
                <a:lnTo>
                  <a:pt x="11228548" y="7638256"/>
                </a:lnTo>
                <a:lnTo>
                  <a:pt x="10989414" y="7574756"/>
                </a:lnTo>
                <a:lnTo>
                  <a:pt x="11064475" y="7435056"/>
                </a:lnTo>
                <a:close/>
              </a:path>
              <a:path w="13852525" h="11308715">
                <a:moveTo>
                  <a:pt x="13715058" y="6647656"/>
                </a:moveTo>
                <a:lnTo>
                  <a:pt x="13049916" y="6673056"/>
                </a:lnTo>
                <a:lnTo>
                  <a:pt x="12278526" y="7790656"/>
                </a:lnTo>
                <a:lnTo>
                  <a:pt x="12943658" y="7765256"/>
                </a:lnTo>
                <a:lnTo>
                  <a:pt x="13715058" y="6647656"/>
                </a:lnTo>
                <a:close/>
              </a:path>
              <a:path w="13852525" h="11308715">
                <a:moveTo>
                  <a:pt x="13851902" y="7219156"/>
                </a:moveTo>
                <a:lnTo>
                  <a:pt x="13431926" y="7765256"/>
                </a:lnTo>
                <a:lnTo>
                  <a:pt x="13851902" y="7752556"/>
                </a:lnTo>
                <a:lnTo>
                  <a:pt x="13851902" y="7219156"/>
                </a:lnTo>
                <a:close/>
              </a:path>
              <a:path w="13852525" h="11308715">
                <a:moveTo>
                  <a:pt x="12514256" y="6800056"/>
                </a:moveTo>
                <a:lnTo>
                  <a:pt x="11742176" y="6800056"/>
                </a:lnTo>
                <a:lnTo>
                  <a:pt x="11228548" y="7638256"/>
                </a:lnTo>
                <a:lnTo>
                  <a:pt x="11996729" y="7638256"/>
                </a:lnTo>
                <a:lnTo>
                  <a:pt x="12514256" y="6800056"/>
                </a:lnTo>
                <a:close/>
              </a:path>
              <a:path w="13852525" h="11308715">
                <a:moveTo>
                  <a:pt x="5518683" y="6653162"/>
                </a:moveTo>
                <a:lnTo>
                  <a:pt x="4909473" y="7244556"/>
                </a:lnTo>
                <a:lnTo>
                  <a:pt x="5292969" y="7333456"/>
                </a:lnTo>
                <a:lnTo>
                  <a:pt x="5465456" y="7333456"/>
                </a:lnTo>
                <a:lnTo>
                  <a:pt x="5944960" y="6863556"/>
                </a:lnTo>
                <a:lnTo>
                  <a:pt x="11539800" y="6863556"/>
                </a:lnTo>
                <a:lnTo>
                  <a:pt x="11742176" y="6800056"/>
                </a:lnTo>
                <a:lnTo>
                  <a:pt x="12514256" y="6800056"/>
                </a:lnTo>
                <a:lnTo>
                  <a:pt x="12529939" y="6774656"/>
                </a:lnTo>
                <a:lnTo>
                  <a:pt x="11020240" y="6774656"/>
                </a:lnTo>
                <a:lnTo>
                  <a:pt x="11026344" y="6749256"/>
                </a:lnTo>
                <a:lnTo>
                  <a:pt x="5960991" y="6749256"/>
                </a:lnTo>
                <a:lnTo>
                  <a:pt x="5693135" y="6685756"/>
                </a:lnTo>
                <a:lnTo>
                  <a:pt x="5737997" y="6660356"/>
                </a:lnTo>
                <a:lnTo>
                  <a:pt x="5531297" y="6660356"/>
                </a:lnTo>
                <a:lnTo>
                  <a:pt x="5518683" y="6653162"/>
                </a:lnTo>
                <a:close/>
              </a:path>
              <a:path w="13852525" h="11308715">
                <a:moveTo>
                  <a:pt x="4847957" y="6482556"/>
                </a:moveTo>
                <a:lnTo>
                  <a:pt x="4151925" y="7079456"/>
                </a:lnTo>
                <a:lnTo>
                  <a:pt x="4590069" y="7181056"/>
                </a:lnTo>
                <a:lnTo>
                  <a:pt x="5286111" y="6584156"/>
                </a:lnTo>
                <a:lnTo>
                  <a:pt x="4847957" y="6482556"/>
                </a:lnTo>
                <a:close/>
              </a:path>
              <a:path w="13852525" h="11308715">
                <a:moveTo>
                  <a:pt x="4171558" y="6304756"/>
                </a:moveTo>
                <a:lnTo>
                  <a:pt x="3394367" y="6914356"/>
                </a:lnTo>
                <a:lnTo>
                  <a:pt x="3753519" y="7003256"/>
                </a:lnTo>
                <a:lnTo>
                  <a:pt x="4530731" y="6393656"/>
                </a:lnTo>
                <a:lnTo>
                  <a:pt x="4171558" y="6304756"/>
                </a:lnTo>
                <a:close/>
              </a:path>
              <a:path w="13852525" h="11308715">
                <a:moveTo>
                  <a:pt x="3495139" y="6139656"/>
                </a:moveTo>
                <a:lnTo>
                  <a:pt x="2636809" y="6761956"/>
                </a:lnTo>
                <a:lnTo>
                  <a:pt x="2916968" y="6825456"/>
                </a:lnTo>
                <a:lnTo>
                  <a:pt x="3775330" y="6203156"/>
                </a:lnTo>
                <a:lnTo>
                  <a:pt x="3495139" y="6139656"/>
                </a:lnTo>
                <a:close/>
              </a:path>
              <a:path w="13852525" h="11308715">
                <a:moveTo>
                  <a:pt x="12278779" y="5809456"/>
                </a:moveTo>
                <a:lnTo>
                  <a:pt x="11571134" y="5809456"/>
                </a:lnTo>
                <a:lnTo>
                  <a:pt x="11275332" y="6774656"/>
                </a:lnTo>
                <a:lnTo>
                  <a:pt x="12529939" y="6774656"/>
                </a:lnTo>
                <a:lnTo>
                  <a:pt x="12561304" y="6723856"/>
                </a:lnTo>
                <a:lnTo>
                  <a:pt x="11986744" y="6723856"/>
                </a:lnTo>
                <a:lnTo>
                  <a:pt x="11997286" y="6723626"/>
                </a:lnTo>
                <a:lnTo>
                  <a:pt x="12278779" y="5809456"/>
                </a:lnTo>
                <a:close/>
              </a:path>
              <a:path w="13852525" h="11308715">
                <a:moveTo>
                  <a:pt x="11117907" y="6368256"/>
                </a:moveTo>
                <a:lnTo>
                  <a:pt x="6253903" y="6368256"/>
                </a:lnTo>
                <a:lnTo>
                  <a:pt x="6369868" y="6482556"/>
                </a:lnTo>
                <a:lnTo>
                  <a:pt x="5960991" y="6749256"/>
                </a:lnTo>
                <a:lnTo>
                  <a:pt x="11026344" y="6749256"/>
                </a:lnTo>
                <a:lnTo>
                  <a:pt x="11117907" y="6368256"/>
                </a:lnTo>
                <a:close/>
              </a:path>
              <a:path w="13852525" h="11308715">
                <a:moveTo>
                  <a:pt x="11997286" y="6723626"/>
                </a:moveTo>
                <a:lnTo>
                  <a:pt x="11986744" y="6723856"/>
                </a:lnTo>
                <a:lnTo>
                  <a:pt x="11997215" y="6723856"/>
                </a:lnTo>
                <a:lnTo>
                  <a:pt x="11997286" y="6723626"/>
                </a:lnTo>
                <a:close/>
              </a:path>
              <a:path w="13852525" h="11308715">
                <a:moveTo>
                  <a:pt x="12569146" y="6711156"/>
                </a:moveTo>
                <a:lnTo>
                  <a:pt x="11997286" y="6723626"/>
                </a:lnTo>
                <a:lnTo>
                  <a:pt x="11997215" y="6723856"/>
                </a:lnTo>
                <a:lnTo>
                  <a:pt x="12561304" y="6723856"/>
                </a:lnTo>
                <a:lnTo>
                  <a:pt x="12569146" y="6711156"/>
                </a:lnTo>
                <a:close/>
              </a:path>
              <a:path w="13852525" h="11308715">
                <a:moveTo>
                  <a:pt x="5524355" y="6647656"/>
                </a:moveTo>
                <a:lnTo>
                  <a:pt x="5518683" y="6653162"/>
                </a:lnTo>
                <a:lnTo>
                  <a:pt x="5531297" y="6660356"/>
                </a:lnTo>
                <a:lnTo>
                  <a:pt x="5524355" y="6647656"/>
                </a:lnTo>
                <a:close/>
              </a:path>
              <a:path w="13852525" h="11308715">
                <a:moveTo>
                  <a:pt x="5760427" y="6647656"/>
                </a:moveTo>
                <a:lnTo>
                  <a:pt x="5524355" y="6647656"/>
                </a:lnTo>
                <a:lnTo>
                  <a:pt x="5531297" y="6660356"/>
                </a:lnTo>
                <a:lnTo>
                  <a:pt x="5737997" y="6660356"/>
                </a:lnTo>
                <a:lnTo>
                  <a:pt x="5760427" y="6647656"/>
                </a:lnTo>
                <a:close/>
              </a:path>
              <a:path w="13852525" h="11308715">
                <a:moveTo>
                  <a:pt x="6424317" y="5606831"/>
                </a:moveTo>
                <a:lnTo>
                  <a:pt x="5657293" y="5809456"/>
                </a:lnTo>
                <a:lnTo>
                  <a:pt x="5922374" y="6063456"/>
                </a:lnTo>
                <a:lnTo>
                  <a:pt x="5916343" y="6063456"/>
                </a:lnTo>
                <a:lnTo>
                  <a:pt x="5197244" y="6469856"/>
                </a:lnTo>
                <a:lnTo>
                  <a:pt x="5518683" y="6653162"/>
                </a:lnTo>
                <a:lnTo>
                  <a:pt x="5524355" y="6647656"/>
                </a:lnTo>
                <a:lnTo>
                  <a:pt x="5760427" y="6647656"/>
                </a:lnTo>
                <a:lnTo>
                  <a:pt x="6253903" y="6368256"/>
                </a:lnTo>
                <a:lnTo>
                  <a:pt x="11117907" y="6368256"/>
                </a:lnTo>
                <a:lnTo>
                  <a:pt x="11142323" y="6266656"/>
                </a:lnTo>
                <a:lnTo>
                  <a:pt x="6296677" y="6266656"/>
                </a:lnTo>
                <a:lnTo>
                  <a:pt x="6063354" y="6139656"/>
                </a:lnTo>
                <a:lnTo>
                  <a:pt x="6663200" y="5987256"/>
                </a:lnTo>
                <a:lnTo>
                  <a:pt x="10839816" y="5987256"/>
                </a:lnTo>
                <a:lnTo>
                  <a:pt x="10837873" y="5898356"/>
                </a:lnTo>
                <a:lnTo>
                  <a:pt x="6728318" y="5898356"/>
                </a:lnTo>
                <a:lnTo>
                  <a:pt x="6543162" y="5720556"/>
                </a:lnTo>
                <a:lnTo>
                  <a:pt x="7526064" y="5720556"/>
                </a:lnTo>
                <a:lnTo>
                  <a:pt x="7221518" y="5657056"/>
                </a:lnTo>
                <a:lnTo>
                  <a:pt x="7199043" y="5618956"/>
                </a:lnTo>
                <a:lnTo>
                  <a:pt x="6431280" y="5618956"/>
                </a:lnTo>
                <a:lnTo>
                  <a:pt x="6424317" y="5606831"/>
                </a:lnTo>
                <a:close/>
              </a:path>
              <a:path w="13852525" h="11308715">
                <a:moveTo>
                  <a:pt x="2818762" y="5961856"/>
                </a:moveTo>
                <a:lnTo>
                  <a:pt x="1879251" y="6596856"/>
                </a:lnTo>
                <a:lnTo>
                  <a:pt x="2080439" y="6634956"/>
                </a:lnTo>
                <a:lnTo>
                  <a:pt x="3019960" y="5999956"/>
                </a:lnTo>
                <a:lnTo>
                  <a:pt x="2818762" y="5961856"/>
                </a:lnTo>
                <a:close/>
              </a:path>
              <a:path w="13852525" h="11308715">
                <a:moveTo>
                  <a:pt x="13512185" y="5123656"/>
                </a:moveTo>
                <a:lnTo>
                  <a:pt x="12850645" y="5326856"/>
                </a:lnTo>
                <a:lnTo>
                  <a:pt x="12369675" y="6634956"/>
                </a:lnTo>
                <a:lnTo>
                  <a:pt x="13031205" y="6431756"/>
                </a:lnTo>
                <a:lnTo>
                  <a:pt x="13512185" y="5123656"/>
                </a:lnTo>
                <a:close/>
              </a:path>
              <a:path w="13852525" h="11308715">
                <a:moveTo>
                  <a:pt x="2142343" y="5784056"/>
                </a:moveTo>
                <a:lnTo>
                  <a:pt x="1121683" y="6431756"/>
                </a:lnTo>
                <a:lnTo>
                  <a:pt x="1243888" y="6457156"/>
                </a:lnTo>
                <a:lnTo>
                  <a:pt x="2264569" y="5809456"/>
                </a:lnTo>
                <a:lnTo>
                  <a:pt x="2142343" y="5784056"/>
                </a:lnTo>
                <a:close/>
              </a:path>
              <a:path w="13852525" h="11308715">
                <a:moveTo>
                  <a:pt x="5331094" y="5733256"/>
                </a:moveTo>
                <a:lnTo>
                  <a:pt x="4534301" y="6126956"/>
                </a:lnTo>
                <a:lnTo>
                  <a:pt x="4916153" y="6330156"/>
                </a:lnTo>
                <a:lnTo>
                  <a:pt x="5712935" y="5936456"/>
                </a:lnTo>
                <a:lnTo>
                  <a:pt x="5331094" y="5733256"/>
                </a:lnTo>
                <a:close/>
              </a:path>
              <a:path w="13852525" h="11308715">
                <a:moveTo>
                  <a:pt x="13851902" y="5530056"/>
                </a:moveTo>
                <a:lnTo>
                  <a:pt x="13523546" y="6304756"/>
                </a:lnTo>
                <a:lnTo>
                  <a:pt x="13851902" y="6203156"/>
                </a:lnTo>
                <a:lnTo>
                  <a:pt x="13851902" y="5530056"/>
                </a:lnTo>
                <a:close/>
              </a:path>
              <a:path w="13852525" h="11308715">
                <a:moveTo>
                  <a:pt x="1509179" y="5618956"/>
                </a:moveTo>
                <a:lnTo>
                  <a:pt x="1465955" y="5618956"/>
                </a:lnTo>
                <a:lnTo>
                  <a:pt x="364135" y="6266656"/>
                </a:lnTo>
                <a:lnTo>
                  <a:pt x="407359" y="6266656"/>
                </a:lnTo>
                <a:lnTo>
                  <a:pt x="1509179" y="5618956"/>
                </a:lnTo>
                <a:close/>
              </a:path>
              <a:path w="13852525" h="11308715">
                <a:moveTo>
                  <a:pt x="11840169" y="4882356"/>
                </a:moveTo>
                <a:lnTo>
                  <a:pt x="11137440" y="4882356"/>
                </a:lnTo>
                <a:lnTo>
                  <a:pt x="11093704" y="5898356"/>
                </a:lnTo>
                <a:lnTo>
                  <a:pt x="10839816" y="5987256"/>
                </a:lnTo>
                <a:lnTo>
                  <a:pt x="6663200" y="5987256"/>
                </a:lnTo>
                <a:lnTo>
                  <a:pt x="6742904" y="6126956"/>
                </a:lnTo>
                <a:lnTo>
                  <a:pt x="6296677" y="6266656"/>
                </a:lnTo>
                <a:lnTo>
                  <a:pt x="11142323" y="6266656"/>
                </a:lnTo>
                <a:lnTo>
                  <a:pt x="11197261" y="6038056"/>
                </a:lnTo>
                <a:lnTo>
                  <a:pt x="11571134" y="5809456"/>
                </a:lnTo>
                <a:lnTo>
                  <a:pt x="12278779" y="5809456"/>
                </a:lnTo>
                <a:lnTo>
                  <a:pt x="12321796" y="5669756"/>
                </a:lnTo>
                <a:lnTo>
                  <a:pt x="11797054" y="5669756"/>
                </a:lnTo>
                <a:lnTo>
                  <a:pt x="11806857" y="5666748"/>
                </a:lnTo>
                <a:lnTo>
                  <a:pt x="11840169" y="4882356"/>
                </a:lnTo>
                <a:close/>
              </a:path>
              <a:path w="13852525" h="11308715">
                <a:moveTo>
                  <a:pt x="4745855" y="5390356"/>
                </a:moveTo>
                <a:lnTo>
                  <a:pt x="3871369" y="5784056"/>
                </a:lnTo>
                <a:lnTo>
                  <a:pt x="4184595" y="5949156"/>
                </a:lnTo>
                <a:lnTo>
                  <a:pt x="5059081" y="5568156"/>
                </a:lnTo>
                <a:lnTo>
                  <a:pt x="4745855" y="5390356"/>
                </a:lnTo>
                <a:close/>
              </a:path>
              <a:path w="13852525" h="11308715">
                <a:moveTo>
                  <a:pt x="7526064" y="5720556"/>
                </a:moveTo>
                <a:lnTo>
                  <a:pt x="7139688" y="5720556"/>
                </a:lnTo>
                <a:lnTo>
                  <a:pt x="7179875" y="5872956"/>
                </a:lnTo>
                <a:lnTo>
                  <a:pt x="6728318" y="5898356"/>
                </a:lnTo>
                <a:lnTo>
                  <a:pt x="10837873" y="5898356"/>
                </a:lnTo>
                <a:lnTo>
                  <a:pt x="10834542" y="5745956"/>
                </a:lnTo>
                <a:lnTo>
                  <a:pt x="7647882" y="5745956"/>
                </a:lnTo>
                <a:lnTo>
                  <a:pt x="7526064" y="5720556"/>
                </a:lnTo>
                <a:close/>
              </a:path>
              <a:path w="13852525" h="11308715">
                <a:moveTo>
                  <a:pt x="7709259" y="5441156"/>
                </a:moveTo>
                <a:lnTo>
                  <a:pt x="7094160" y="5441156"/>
                </a:lnTo>
                <a:lnTo>
                  <a:pt x="7647651" y="5593556"/>
                </a:lnTo>
                <a:lnTo>
                  <a:pt x="7647882" y="5745956"/>
                </a:lnTo>
                <a:lnTo>
                  <a:pt x="10834542" y="5745956"/>
                </a:lnTo>
                <a:lnTo>
                  <a:pt x="10831212" y="5593556"/>
                </a:lnTo>
                <a:lnTo>
                  <a:pt x="7807228" y="5593556"/>
                </a:lnTo>
                <a:lnTo>
                  <a:pt x="7739743" y="5555456"/>
                </a:lnTo>
                <a:lnTo>
                  <a:pt x="7709259" y="5441156"/>
                </a:lnTo>
                <a:close/>
              </a:path>
              <a:path w="13852525" h="11308715">
                <a:moveTo>
                  <a:pt x="11806857" y="5666748"/>
                </a:moveTo>
                <a:lnTo>
                  <a:pt x="11797054" y="5669756"/>
                </a:lnTo>
                <a:lnTo>
                  <a:pt x="11806729" y="5669756"/>
                </a:lnTo>
                <a:lnTo>
                  <a:pt x="11806857" y="5666748"/>
                </a:lnTo>
                <a:close/>
              </a:path>
              <a:path w="13852525" h="11308715">
                <a:moveTo>
                  <a:pt x="12376544" y="5491956"/>
                </a:moveTo>
                <a:lnTo>
                  <a:pt x="11806857" y="5666748"/>
                </a:lnTo>
                <a:lnTo>
                  <a:pt x="11806729" y="5669756"/>
                </a:lnTo>
                <a:lnTo>
                  <a:pt x="12321796" y="5669756"/>
                </a:lnTo>
                <a:lnTo>
                  <a:pt x="12376544" y="5491956"/>
                </a:lnTo>
                <a:close/>
              </a:path>
              <a:path w="13852525" h="11308715">
                <a:moveTo>
                  <a:pt x="6426495" y="5606256"/>
                </a:moveTo>
                <a:lnTo>
                  <a:pt x="6424317" y="5606831"/>
                </a:lnTo>
                <a:lnTo>
                  <a:pt x="6431280" y="5618956"/>
                </a:lnTo>
                <a:lnTo>
                  <a:pt x="6426495" y="5606256"/>
                </a:lnTo>
                <a:close/>
              </a:path>
              <a:path w="13852525" h="11308715">
                <a:moveTo>
                  <a:pt x="7191551" y="5606256"/>
                </a:moveTo>
                <a:lnTo>
                  <a:pt x="6426495" y="5606256"/>
                </a:lnTo>
                <a:lnTo>
                  <a:pt x="6431280" y="5618956"/>
                </a:lnTo>
                <a:lnTo>
                  <a:pt x="7199043" y="5618956"/>
                </a:lnTo>
                <a:lnTo>
                  <a:pt x="7191551" y="5606256"/>
                </a:lnTo>
                <a:close/>
              </a:path>
              <a:path w="13852525" h="11308715">
                <a:moveTo>
                  <a:pt x="7013797" y="5301456"/>
                </a:moveTo>
                <a:lnTo>
                  <a:pt x="6248940" y="5301456"/>
                </a:lnTo>
                <a:lnTo>
                  <a:pt x="6424317" y="5606831"/>
                </a:lnTo>
                <a:lnTo>
                  <a:pt x="6426495" y="5606256"/>
                </a:lnTo>
                <a:lnTo>
                  <a:pt x="7191551" y="5606256"/>
                </a:lnTo>
                <a:lnTo>
                  <a:pt x="7094160" y="5441156"/>
                </a:lnTo>
                <a:lnTo>
                  <a:pt x="7709259" y="5441156"/>
                </a:lnTo>
                <a:lnTo>
                  <a:pt x="7675389" y="5314156"/>
                </a:lnTo>
                <a:lnTo>
                  <a:pt x="7017210" y="5314156"/>
                </a:lnTo>
                <a:lnTo>
                  <a:pt x="7013797" y="5301456"/>
                </a:lnTo>
                <a:close/>
              </a:path>
              <a:path w="13852525" h="11308715">
                <a:moveTo>
                  <a:pt x="5966362" y="5149056"/>
                </a:moveTo>
                <a:lnTo>
                  <a:pt x="5127917" y="5314156"/>
                </a:lnTo>
                <a:lnTo>
                  <a:pt x="5431122" y="5606256"/>
                </a:lnTo>
                <a:lnTo>
                  <a:pt x="6269568" y="5441156"/>
                </a:lnTo>
                <a:lnTo>
                  <a:pt x="5966362" y="5149056"/>
                </a:lnTo>
                <a:close/>
              </a:path>
              <a:path w="13852525" h="11308715">
                <a:moveTo>
                  <a:pt x="10824828" y="5301456"/>
                </a:moveTo>
                <a:lnTo>
                  <a:pt x="7013912" y="5301456"/>
                </a:lnTo>
                <a:lnTo>
                  <a:pt x="7017210" y="5314156"/>
                </a:lnTo>
                <a:lnTo>
                  <a:pt x="7675389" y="5314156"/>
                </a:lnTo>
                <a:lnTo>
                  <a:pt x="7851561" y="5428456"/>
                </a:lnTo>
                <a:lnTo>
                  <a:pt x="7807228" y="5593556"/>
                </a:lnTo>
                <a:lnTo>
                  <a:pt x="10831212" y="5593556"/>
                </a:lnTo>
                <a:lnTo>
                  <a:pt x="10824828" y="5301456"/>
                </a:lnTo>
                <a:close/>
              </a:path>
              <a:path w="13852525" h="11308715">
                <a:moveTo>
                  <a:pt x="4160606" y="5060156"/>
                </a:moveTo>
                <a:lnTo>
                  <a:pt x="3208425" y="5428456"/>
                </a:lnTo>
                <a:lnTo>
                  <a:pt x="3453025" y="5568156"/>
                </a:lnTo>
                <a:lnTo>
                  <a:pt x="4405227" y="5187156"/>
                </a:lnTo>
                <a:lnTo>
                  <a:pt x="4160606" y="5060156"/>
                </a:lnTo>
                <a:close/>
              </a:path>
              <a:path w="13852525" h="11308715">
                <a:moveTo>
                  <a:pt x="12906926" y="3688556"/>
                </a:moveTo>
                <a:lnTo>
                  <a:pt x="12296149" y="4056856"/>
                </a:lnTo>
                <a:lnTo>
                  <a:pt x="12157399" y="5479256"/>
                </a:lnTo>
                <a:lnTo>
                  <a:pt x="12768176" y="5098256"/>
                </a:lnTo>
                <a:lnTo>
                  <a:pt x="12906926" y="3688556"/>
                </a:lnTo>
                <a:close/>
              </a:path>
              <a:path w="13852525" h="11308715">
                <a:moveTo>
                  <a:pt x="6925066" y="4971256"/>
                </a:moveTo>
                <a:lnTo>
                  <a:pt x="7017210" y="5314156"/>
                </a:lnTo>
                <a:lnTo>
                  <a:pt x="7013912" y="5301456"/>
                </a:lnTo>
                <a:lnTo>
                  <a:pt x="10824828" y="5301456"/>
                </a:lnTo>
                <a:lnTo>
                  <a:pt x="10823717" y="5250656"/>
                </a:lnTo>
                <a:lnTo>
                  <a:pt x="10448079" y="5250656"/>
                </a:lnTo>
                <a:lnTo>
                  <a:pt x="10425930" y="5174456"/>
                </a:lnTo>
                <a:lnTo>
                  <a:pt x="7634846" y="5174456"/>
                </a:lnTo>
                <a:lnTo>
                  <a:pt x="6925066" y="4971256"/>
                </a:lnTo>
                <a:close/>
              </a:path>
              <a:path w="13852525" h="11308715">
                <a:moveTo>
                  <a:pt x="11205803" y="4082256"/>
                </a:moveTo>
                <a:lnTo>
                  <a:pt x="10455922" y="4082256"/>
                </a:lnTo>
                <a:lnTo>
                  <a:pt x="10682669" y="5098256"/>
                </a:lnTo>
                <a:lnTo>
                  <a:pt x="10448079" y="5250656"/>
                </a:lnTo>
                <a:lnTo>
                  <a:pt x="10823717" y="5250656"/>
                </a:lnTo>
                <a:lnTo>
                  <a:pt x="10822885" y="5212556"/>
                </a:lnTo>
                <a:lnTo>
                  <a:pt x="11137440" y="4882356"/>
                </a:lnTo>
                <a:lnTo>
                  <a:pt x="11840169" y="4882356"/>
                </a:lnTo>
                <a:lnTo>
                  <a:pt x="11848798" y="4679156"/>
                </a:lnTo>
                <a:lnTo>
                  <a:pt x="11327529" y="4679156"/>
                </a:lnTo>
                <a:lnTo>
                  <a:pt x="11335665" y="4666456"/>
                </a:lnTo>
                <a:lnTo>
                  <a:pt x="11205803" y="4082256"/>
                </a:lnTo>
                <a:close/>
              </a:path>
              <a:path w="13852525" h="11308715">
                <a:moveTo>
                  <a:pt x="3575367" y="4729956"/>
                </a:moveTo>
                <a:lnTo>
                  <a:pt x="2545503" y="5085556"/>
                </a:lnTo>
                <a:lnTo>
                  <a:pt x="2721508" y="5174456"/>
                </a:lnTo>
                <a:lnTo>
                  <a:pt x="3751372" y="4818856"/>
                </a:lnTo>
                <a:lnTo>
                  <a:pt x="3575367" y="4729956"/>
                </a:lnTo>
                <a:close/>
              </a:path>
              <a:path w="13852525" h="11308715">
                <a:moveTo>
                  <a:pt x="7635599" y="4831556"/>
                </a:moveTo>
                <a:lnTo>
                  <a:pt x="7636510" y="5174456"/>
                </a:lnTo>
                <a:lnTo>
                  <a:pt x="10425930" y="5174456"/>
                </a:lnTo>
                <a:lnTo>
                  <a:pt x="10381632" y="5022056"/>
                </a:lnTo>
                <a:lnTo>
                  <a:pt x="7958396" y="5022056"/>
                </a:lnTo>
                <a:lnTo>
                  <a:pt x="7635599" y="4831556"/>
                </a:lnTo>
                <a:close/>
              </a:path>
              <a:path w="13852525" h="11308715">
                <a:moveTo>
                  <a:pt x="5880899" y="4704556"/>
                </a:moveTo>
                <a:lnTo>
                  <a:pt x="6089699" y="5047456"/>
                </a:lnTo>
                <a:lnTo>
                  <a:pt x="6911307" y="5098256"/>
                </a:lnTo>
                <a:lnTo>
                  <a:pt x="6702487" y="4742656"/>
                </a:lnTo>
                <a:lnTo>
                  <a:pt x="5880899" y="4704556"/>
                </a:lnTo>
                <a:close/>
              </a:path>
              <a:path w="13852525" h="11308715">
                <a:moveTo>
                  <a:pt x="5506209" y="4679156"/>
                </a:moveTo>
                <a:lnTo>
                  <a:pt x="4598540" y="4818856"/>
                </a:lnTo>
                <a:lnTo>
                  <a:pt x="4847496" y="5060156"/>
                </a:lnTo>
                <a:lnTo>
                  <a:pt x="5755175" y="4920456"/>
                </a:lnTo>
                <a:lnTo>
                  <a:pt x="5506209" y="4679156"/>
                </a:lnTo>
                <a:close/>
              </a:path>
              <a:path w="13852525" h="11308715">
                <a:moveTo>
                  <a:pt x="7623663" y="4145756"/>
                </a:moveTo>
                <a:lnTo>
                  <a:pt x="7625328" y="4539456"/>
                </a:lnTo>
                <a:lnTo>
                  <a:pt x="8015075" y="4806156"/>
                </a:lnTo>
                <a:lnTo>
                  <a:pt x="7958396" y="5022056"/>
                </a:lnTo>
                <a:lnTo>
                  <a:pt x="10381632" y="5022056"/>
                </a:lnTo>
                <a:lnTo>
                  <a:pt x="10267195" y="4628356"/>
                </a:lnTo>
                <a:lnTo>
                  <a:pt x="9859992" y="4628356"/>
                </a:lnTo>
                <a:lnTo>
                  <a:pt x="9760072" y="4463256"/>
                </a:lnTo>
                <a:lnTo>
                  <a:pt x="8084937" y="4463256"/>
                </a:lnTo>
                <a:lnTo>
                  <a:pt x="7623663" y="4145756"/>
                </a:lnTo>
                <a:close/>
              </a:path>
              <a:path w="13852525" h="11308715">
                <a:moveTo>
                  <a:pt x="6733763" y="4310856"/>
                </a:moveTo>
                <a:lnTo>
                  <a:pt x="6839582" y="4691856"/>
                </a:lnTo>
                <a:lnTo>
                  <a:pt x="7590302" y="4945856"/>
                </a:lnTo>
                <a:lnTo>
                  <a:pt x="7484484" y="4564856"/>
                </a:lnTo>
                <a:lnTo>
                  <a:pt x="6733763" y="4310856"/>
                </a:lnTo>
                <a:close/>
              </a:path>
              <a:path w="13852525" h="11308715">
                <a:moveTo>
                  <a:pt x="13851902" y="3078956"/>
                </a:moveTo>
                <a:lnTo>
                  <a:pt x="13451318" y="3332956"/>
                </a:lnTo>
                <a:lnTo>
                  <a:pt x="13229900" y="4844256"/>
                </a:lnTo>
                <a:lnTo>
                  <a:pt x="13729634" y="4526756"/>
                </a:lnTo>
                <a:lnTo>
                  <a:pt x="13851902" y="3688556"/>
                </a:lnTo>
                <a:lnTo>
                  <a:pt x="13851902" y="3078956"/>
                </a:lnTo>
                <a:close/>
              </a:path>
              <a:path w="13852525" h="11308715">
                <a:moveTo>
                  <a:pt x="2990128" y="4387056"/>
                </a:moveTo>
                <a:lnTo>
                  <a:pt x="1882560" y="4742656"/>
                </a:lnTo>
                <a:lnTo>
                  <a:pt x="1989928" y="4793456"/>
                </a:lnTo>
                <a:lnTo>
                  <a:pt x="3097518" y="4437856"/>
                </a:lnTo>
                <a:lnTo>
                  <a:pt x="2990128" y="4387056"/>
                </a:lnTo>
                <a:close/>
              </a:path>
              <a:path w="13852525" h="11308715">
                <a:moveTo>
                  <a:pt x="11862822" y="4348956"/>
                </a:moveTo>
                <a:lnTo>
                  <a:pt x="11327529" y="4679156"/>
                </a:lnTo>
                <a:lnTo>
                  <a:pt x="11848798" y="4679156"/>
                </a:lnTo>
                <a:lnTo>
                  <a:pt x="11862822" y="4348956"/>
                </a:lnTo>
                <a:close/>
              </a:path>
              <a:path w="13852525" h="11308715">
                <a:moveTo>
                  <a:pt x="10419085" y="3472656"/>
                </a:moveTo>
                <a:lnTo>
                  <a:pt x="9559876" y="3472656"/>
                </a:lnTo>
                <a:lnTo>
                  <a:pt x="10057473" y="4412456"/>
                </a:lnTo>
                <a:lnTo>
                  <a:pt x="9859992" y="4628356"/>
                </a:lnTo>
                <a:lnTo>
                  <a:pt x="10267195" y="4628356"/>
                </a:lnTo>
                <a:lnTo>
                  <a:pt x="10226589" y="4488656"/>
                </a:lnTo>
                <a:lnTo>
                  <a:pt x="10455922" y="4082256"/>
                </a:lnTo>
                <a:lnTo>
                  <a:pt x="11205803" y="4082256"/>
                </a:lnTo>
                <a:lnTo>
                  <a:pt x="11149342" y="3828256"/>
                </a:lnTo>
                <a:lnTo>
                  <a:pt x="10594494" y="3828256"/>
                </a:lnTo>
                <a:lnTo>
                  <a:pt x="10600441" y="3815556"/>
                </a:lnTo>
                <a:lnTo>
                  <a:pt x="10419085" y="3472656"/>
                </a:lnTo>
                <a:close/>
              </a:path>
              <a:path w="13852525" h="11308715">
                <a:moveTo>
                  <a:pt x="5046076" y="4209256"/>
                </a:moveTo>
                <a:lnTo>
                  <a:pt x="4069174" y="4323556"/>
                </a:lnTo>
                <a:lnTo>
                  <a:pt x="4263849" y="4501356"/>
                </a:lnTo>
                <a:lnTo>
                  <a:pt x="5240793" y="4399756"/>
                </a:lnTo>
                <a:lnTo>
                  <a:pt x="5046076" y="4209256"/>
                </a:lnTo>
                <a:close/>
              </a:path>
              <a:path w="13852525" h="11308715">
                <a:moveTo>
                  <a:pt x="5512868" y="4094956"/>
                </a:moveTo>
                <a:lnTo>
                  <a:pt x="5684591" y="4387056"/>
                </a:lnTo>
                <a:lnTo>
                  <a:pt x="6562805" y="4475956"/>
                </a:lnTo>
                <a:lnTo>
                  <a:pt x="6391082" y="4196556"/>
                </a:lnTo>
                <a:lnTo>
                  <a:pt x="5512868" y="4094956"/>
                </a:lnTo>
                <a:close/>
              </a:path>
              <a:path w="13852525" h="11308715">
                <a:moveTo>
                  <a:pt x="7611736" y="3472656"/>
                </a:moveTo>
                <a:lnTo>
                  <a:pt x="7613820" y="3790156"/>
                </a:lnTo>
                <a:lnTo>
                  <a:pt x="8154243" y="4209256"/>
                </a:lnTo>
                <a:lnTo>
                  <a:pt x="8084937" y="4463256"/>
                </a:lnTo>
                <a:lnTo>
                  <a:pt x="9760072" y="4463256"/>
                </a:lnTo>
                <a:lnTo>
                  <a:pt x="9583289" y="4171156"/>
                </a:lnTo>
                <a:lnTo>
                  <a:pt x="9105377" y="4171156"/>
                </a:lnTo>
                <a:lnTo>
                  <a:pt x="8844315" y="3929856"/>
                </a:lnTo>
                <a:lnTo>
                  <a:pt x="8225341" y="3929856"/>
                </a:lnTo>
                <a:lnTo>
                  <a:pt x="7611736" y="3472656"/>
                </a:lnTo>
                <a:close/>
              </a:path>
              <a:path w="13852525" h="11308715">
                <a:moveTo>
                  <a:pt x="2404879" y="4056856"/>
                </a:moveTo>
                <a:lnTo>
                  <a:pt x="1219606" y="4387056"/>
                </a:lnTo>
                <a:lnTo>
                  <a:pt x="1258380" y="4412456"/>
                </a:lnTo>
                <a:lnTo>
                  <a:pt x="2443632" y="4069556"/>
                </a:lnTo>
                <a:lnTo>
                  <a:pt x="2404879" y="4056856"/>
                </a:lnTo>
                <a:close/>
              </a:path>
              <a:path w="13852525" h="11308715">
                <a:moveTo>
                  <a:pt x="11917783" y="2418556"/>
                </a:moveTo>
                <a:lnTo>
                  <a:pt x="11404218" y="2964656"/>
                </a:lnTo>
                <a:lnTo>
                  <a:pt x="11638347" y="4387056"/>
                </a:lnTo>
                <a:lnTo>
                  <a:pt x="12151912" y="3853656"/>
                </a:lnTo>
                <a:lnTo>
                  <a:pt x="11917783" y="2418556"/>
                </a:lnTo>
                <a:close/>
              </a:path>
              <a:path w="13852525" h="11308715">
                <a:moveTo>
                  <a:pt x="6542429" y="3637756"/>
                </a:moveTo>
                <a:lnTo>
                  <a:pt x="6629840" y="3955256"/>
                </a:lnTo>
                <a:lnTo>
                  <a:pt x="7421512" y="4272756"/>
                </a:lnTo>
                <a:lnTo>
                  <a:pt x="7334111" y="3955256"/>
                </a:lnTo>
                <a:lnTo>
                  <a:pt x="6542429" y="3637756"/>
                </a:lnTo>
                <a:close/>
              </a:path>
              <a:path w="13852525" h="11308715">
                <a:moveTo>
                  <a:pt x="8675913" y="2151856"/>
                </a:moveTo>
                <a:lnTo>
                  <a:pt x="8439135" y="3053556"/>
                </a:lnTo>
                <a:lnTo>
                  <a:pt x="9249467" y="3917156"/>
                </a:lnTo>
                <a:lnTo>
                  <a:pt x="9105377" y="4171156"/>
                </a:lnTo>
                <a:lnTo>
                  <a:pt x="9583289" y="4171156"/>
                </a:lnTo>
                <a:lnTo>
                  <a:pt x="9437251" y="3929856"/>
                </a:lnTo>
                <a:lnTo>
                  <a:pt x="9559876" y="3472656"/>
                </a:lnTo>
                <a:lnTo>
                  <a:pt x="10419085" y="3472656"/>
                </a:lnTo>
                <a:lnTo>
                  <a:pt x="10271313" y="3193256"/>
                </a:lnTo>
                <a:lnTo>
                  <a:pt x="9633989" y="3193256"/>
                </a:lnTo>
                <a:lnTo>
                  <a:pt x="9637151" y="3180556"/>
                </a:lnTo>
                <a:lnTo>
                  <a:pt x="8675913" y="2151856"/>
                </a:lnTo>
                <a:close/>
              </a:path>
              <a:path w="13852525" h="11308715">
                <a:moveTo>
                  <a:pt x="4585933" y="3739356"/>
                </a:moveTo>
                <a:lnTo>
                  <a:pt x="3539797" y="3828256"/>
                </a:lnTo>
                <a:lnTo>
                  <a:pt x="3680254" y="3955256"/>
                </a:lnTo>
                <a:lnTo>
                  <a:pt x="4726390" y="3879056"/>
                </a:lnTo>
                <a:lnTo>
                  <a:pt x="4585933" y="3739356"/>
                </a:lnTo>
                <a:close/>
              </a:path>
              <a:path w="13852525" h="11308715">
                <a:moveTo>
                  <a:pt x="8349672" y="3472656"/>
                </a:moveTo>
                <a:lnTo>
                  <a:pt x="8225341" y="3929856"/>
                </a:lnTo>
                <a:lnTo>
                  <a:pt x="8844315" y="3929856"/>
                </a:lnTo>
                <a:lnTo>
                  <a:pt x="8349672" y="3472656"/>
                </a:lnTo>
                <a:close/>
              </a:path>
              <a:path w="13852525" h="11308715">
                <a:moveTo>
                  <a:pt x="5144827" y="3485356"/>
                </a:moveTo>
                <a:lnTo>
                  <a:pt x="5279462" y="3713956"/>
                </a:lnTo>
                <a:lnTo>
                  <a:pt x="6214302" y="3853656"/>
                </a:lnTo>
                <a:lnTo>
                  <a:pt x="6079668" y="3637756"/>
                </a:lnTo>
                <a:lnTo>
                  <a:pt x="5144827" y="3485356"/>
                </a:lnTo>
                <a:close/>
              </a:path>
              <a:path w="13852525" h="11308715">
                <a:moveTo>
                  <a:pt x="11044888" y="3358356"/>
                </a:moveTo>
                <a:lnTo>
                  <a:pt x="10594494" y="3828256"/>
                </a:lnTo>
                <a:lnTo>
                  <a:pt x="11149342" y="3828256"/>
                </a:lnTo>
                <a:lnTo>
                  <a:pt x="11044888" y="3358356"/>
                </a:lnTo>
                <a:close/>
              </a:path>
              <a:path w="13852525" h="11308715">
                <a:moveTo>
                  <a:pt x="7599810" y="2786856"/>
                </a:moveTo>
                <a:lnTo>
                  <a:pt x="7602313" y="3040856"/>
                </a:lnTo>
                <a:lnTo>
                  <a:pt x="8282857" y="3612356"/>
                </a:lnTo>
                <a:lnTo>
                  <a:pt x="8280355" y="3358356"/>
                </a:lnTo>
                <a:lnTo>
                  <a:pt x="7599810" y="2786856"/>
                </a:lnTo>
                <a:close/>
              </a:path>
              <a:path w="13852525" h="11308715">
                <a:moveTo>
                  <a:pt x="6351115" y="2977356"/>
                </a:moveTo>
                <a:lnTo>
                  <a:pt x="6420118" y="3218656"/>
                </a:lnTo>
                <a:lnTo>
                  <a:pt x="7252732" y="3599656"/>
                </a:lnTo>
                <a:lnTo>
                  <a:pt x="7183739" y="3345656"/>
                </a:lnTo>
                <a:lnTo>
                  <a:pt x="6351115" y="2977356"/>
                </a:lnTo>
                <a:close/>
              </a:path>
              <a:path w="13852525" h="11308715">
                <a:moveTo>
                  <a:pt x="12790678" y="1491456"/>
                </a:moveTo>
                <a:lnTo>
                  <a:pt x="12370890" y="1923256"/>
                </a:lnTo>
                <a:lnTo>
                  <a:pt x="12548382" y="3472656"/>
                </a:lnTo>
                <a:lnTo>
                  <a:pt x="12968181" y="3040856"/>
                </a:lnTo>
                <a:lnTo>
                  <a:pt x="12790678" y="1491456"/>
                </a:lnTo>
                <a:close/>
              </a:path>
              <a:path w="13852525" h="11308715">
                <a:moveTo>
                  <a:pt x="10591646" y="1453356"/>
                </a:moveTo>
                <a:lnTo>
                  <a:pt x="10217657" y="2113756"/>
                </a:lnTo>
                <a:lnTo>
                  <a:pt x="10830727" y="3459956"/>
                </a:lnTo>
                <a:lnTo>
                  <a:pt x="11204716" y="2799556"/>
                </a:lnTo>
                <a:lnTo>
                  <a:pt x="10591646" y="1453356"/>
                </a:lnTo>
                <a:close/>
              </a:path>
              <a:path w="13852525" h="11308715">
                <a:moveTo>
                  <a:pt x="4125801" y="3282156"/>
                </a:moveTo>
                <a:lnTo>
                  <a:pt x="3010421" y="3332956"/>
                </a:lnTo>
                <a:lnTo>
                  <a:pt x="3096628" y="3409156"/>
                </a:lnTo>
                <a:lnTo>
                  <a:pt x="4212018" y="3358356"/>
                </a:lnTo>
                <a:lnTo>
                  <a:pt x="4125801" y="3282156"/>
                </a:lnTo>
                <a:close/>
              </a:path>
              <a:path w="13852525" h="11308715">
                <a:moveTo>
                  <a:pt x="4776796" y="2888456"/>
                </a:moveTo>
                <a:lnTo>
                  <a:pt x="4874343" y="3040856"/>
                </a:lnTo>
                <a:lnTo>
                  <a:pt x="5865810" y="3231356"/>
                </a:lnTo>
                <a:lnTo>
                  <a:pt x="5768264" y="3078956"/>
                </a:lnTo>
                <a:lnTo>
                  <a:pt x="4776796" y="2888456"/>
                </a:lnTo>
                <a:close/>
              </a:path>
              <a:path w="13852525" h="11308715">
                <a:moveTo>
                  <a:pt x="9962335" y="2609056"/>
                </a:moveTo>
                <a:lnTo>
                  <a:pt x="9633989" y="3193256"/>
                </a:lnTo>
                <a:lnTo>
                  <a:pt x="10271313" y="3193256"/>
                </a:lnTo>
                <a:lnTo>
                  <a:pt x="9962335" y="2609056"/>
                </a:lnTo>
                <a:close/>
              </a:path>
              <a:path w="13852525" h="11308715">
                <a:moveTo>
                  <a:pt x="7587884" y="2113756"/>
                </a:moveTo>
                <a:lnTo>
                  <a:pt x="7590805" y="2291556"/>
                </a:lnTo>
                <a:lnTo>
                  <a:pt x="8294784" y="2926556"/>
                </a:lnTo>
                <a:lnTo>
                  <a:pt x="8291862" y="2736056"/>
                </a:lnTo>
                <a:lnTo>
                  <a:pt x="7587884" y="2113756"/>
                </a:lnTo>
                <a:close/>
              </a:path>
              <a:path w="13852525" h="11308715">
                <a:moveTo>
                  <a:pt x="6159801" y="2304256"/>
                </a:moveTo>
                <a:lnTo>
                  <a:pt x="6210376" y="2482056"/>
                </a:lnTo>
                <a:lnTo>
                  <a:pt x="7083951" y="2913856"/>
                </a:lnTo>
                <a:lnTo>
                  <a:pt x="7033366" y="2736056"/>
                </a:lnTo>
                <a:lnTo>
                  <a:pt x="6159801" y="2304256"/>
                </a:lnTo>
                <a:close/>
              </a:path>
              <a:path w="13852525" h="11308715">
                <a:moveTo>
                  <a:pt x="3665658" y="2812256"/>
                </a:moveTo>
                <a:lnTo>
                  <a:pt x="2481055" y="2837656"/>
                </a:lnTo>
                <a:lnTo>
                  <a:pt x="2512981" y="2863056"/>
                </a:lnTo>
                <a:lnTo>
                  <a:pt x="3697615" y="2837656"/>
                </a:lnTo>
                <a:lnTo>
                  <a:pt x="3665658" y="2812256"/>
                </a:lnTo>
                <a:close/>
              </a:path>
              <a:path w="13852525" h="11308715">
                <a:moveTo>
                  <a:pt x="9002134" y="843756"/>
                </a:moveTo>
                <a:lnTo>
                  <a:pt x="8802779" y="1605756"/>
                </a:lnTo>
                <a:lnTo>
                  <a:pt x="9774309" y="2761456"/>
                </a:lnTo>
                <a:lnTo>
                  <a:pt x="9973675" y="2012156"/>
                </a:lnTo>
                <a:lnTo>
                  <a:pt x="9002134" y="843756"/>
                </a:lnTo>
                <a:close/>
              </a:path>
              <a:path w="13852525" h="11308715">
                <a:moveTo>
                  <a:pt x="4408755" y="2278856"/>
                </a:moveTo>
                <a:lnTo>
                  <a:pt x="4469235" y="2380456"/>
                </a:lnTo>
                <a:lnTo>
                  <a:pt x="5517318" y="2609056"/>
                </a:lnTo>
                <a:lnTo>
                  <a:pt x="5456849" y="2520156"/>
                </a:lnTo>
                <a:lnTo>
                  <a:pt x="4408755" y="2278856"/>
                </a:lnTo>
                <a:close/>
              </a:path>
              <a:path w="13852525" h="11308715">
                <a:moveTo>
                  <a:pt x="11220946" y="284956"/>
                </a:moveTo>
                <a:lnTo>
                  <a:pt x="10915740" y="843756"/>
                </a:lnTo>
                <a:lnTo>
                  <a:pt x="11503785" y="2316956"/>
                </a:lnTo>
                <a:lnTo>
                  <a:pt x="11808991" y="1770856"/>
                </a:lnTo>
                <a:lnTo>
                  <a:pt x="11220946" y="284956"/>
                </a:lnTo>
                <a:close/>
              </a:path>
              <a:path w="13852525" h="11308715">
                <a:moveTo>
                  <a:pt x="5968477" y="1643856"/>
                </a:moveTo>
                <a:lnTo>
                  <a:pt x="6000644" y="1745456"/>
                </a:lnTo>
                <a:lnTo>
                  <a:pt x="6915171" y="2240756"/>
                </a:lnTo>
                <a:lnTo>
                  <a:pt x="6883015" y="2126456"/>
                </a:lnTo>
                <a:lnTo>
                  <a:pt x="5968477" y="1643856"/>
                </a:lnTo>
                <a:close/>
              </a:path>
              <a:path w="13852525" h="11308715">
                <a:moveTo>
                  <a:pt x="7575968" y="1427956"/>
                </a:moveTo>
                <a:lnTo>
                  <a:pt x="7579298" y="1542256"/>
                </a:lnTo>
                <a:lnTo>
                  <a:pt x="8306699" y="2240756"/>
                </a:lnTo>
                <a:lnTo>
                  <a:pt x="8303370" y="2126456"/>
                </a:lnTo>
                <a:lnTo>
                  <a:pt x="7575968" y="1427956"/>
                </a:lnTo>
                <a:close/>
              </a:path>
              <a:path w="13852525" h="11308715">
                <a:moveTo>
                  <a:pt x="4040735" y="1669256"/>
                </a:moveTo>
                <a:lnTo>
                  <a:pt x="4064096" y="1707356"/>
                </a:lnTo>
                <a:lnTo>
                  <a:pt x="5168826" y="1986756"/>
                </a:lnTo>
                <a:lnTo>
                  <a:pt x="5145445" y="1961356"/>
                </a:lnTo>
                <a:lnTo>
                  <a:pt x="4040735" y="1669256"/>
                </a:lnTo>
                <a:close/>
              </a:path>
              <a:path w="13852525" h="11308715">
                <a:moveTo>
                  <a:pt x="5777164" y="970756"/>
                </a:moveTo>
                <a:lnTo>
                  <a:pt x="5790923" y="1008856"/>
                </a:lnTo>
                <a:lnTo>
                  <a:pt x="6746391" y="1554956"/>
                </a:lnTo>
                <a:lnTo>
                  <a:pt x="6732643" y="1529556"/>
                </a:lnTo>
                <a:lnTo>
                  <a:pt x="5777164" y="970756"/>
                </a:lnTo>
                <a:close/>
              </a:path>
              <a:path w="13852525" h="11308715">
                <a:moveTo>
                  <a:pt x="7564041" y="754856"/>
                </a:moveTo>
                <a:lnTo>
                  <a:pt x="7567790" y="792956"/>
                </a:lnTo>
                <a:lnTo>
                  <a:pt x="8318636" y="1554956"/>
                </a:lnTo>
                <a:lnTo>
                  <a:pt x="8314888" y="1516856"/>
                </a:lnTo>
                <a:lnTo>
                  <a:pt x="7564041" y="754856"/>
                </a:lnTo>
                <a:close/>
              </a:path>
              <a:path w="13852525" h="11308715">
                <a:moveTo>
                  <a:pt x="9684684" y="5556"/>
                </a:moveTo>
                <a:lnTo>
                  <a:pt x="9205378" y="5556"/>
                </a:lnTo>
                <a:lnTo>
                  <a:pt x="9166401" y="157956"/>
                </a:lnTo>
                <a:lnTo>
                  <a:pt x="10148214" y="1453356"/>
                </a:lnTo>
                <a:lnTo>
                  <a:pt x="10310167" y="831056"/>
                </a:lnTo>
                <a:lnTo>
                  <a:pt x="9684684" y="5556"/>
                </a:lnTo>
                <a:close/>
              </a:path>
              <a:path w="13852525" h="11308715">
                <a:moveTo>
                  <a:pt x="12155392" y="5556"/>
                </a:moveTo>
                <a:lnTo>
                  <a:pt x="11769899" y="5556"/>
                </a:lnTo>
                <a:lnTo>
                  <a:pt x="12176843" y="1173956"/>
                </a:lnTo>
                <a:lnTo>
                  <a:pt x="12413266" y="742156"/>
                </a:lnTo>
                <a:lnTo>
                  <a:pt x="12155392" y="5556"/>
                </a:lnTo>
                <a:close/>
              </a:path>
              <a:path w="13852525" h="11308715">
                <a:moveTo>
                  <a:pt x="10558529" y="5556"/>
                </a:moveTo>
                <a:lnTo>
                  <a:pt x="10424416" y="5556"/>
                </a:lnTo>
                <a:lnTo>
                  <a:pt x="10522108" y="145256"/>
                </a:lnTo>
                <a:lnTo>
                  <a:pt x="10558529" y="5556"/>
                </a:lnTo>
                <a:close/>
              </a:path>
            </a:pathLst>
          </a:custGeom>
          <a:solidFill>
            <a:srgbClr val="1A0F5C">
              <a:alpha val="5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FDD0999-C447-FB95-885F-11AEB8E057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908" y="1714110"/>
            <a:ext cx="1840546" cy="610478"/>
          </a:xfrm>
          <a:prstGeom prst="rect">
            <a:avLst/>
          </a:prstGeom>
        </p:spPr>
      </p:pic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B54AA19A-CDD3-9D37-F52F-30A94B27DCC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411629" y="5850238"/>
            <a:ext cx="2396464" cy="63286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250103C-1BE3-E16B-2B3D-51AC90397095}"/>
              </a:ext>
            </a:extLst>
          </p:cNvPr>
          <p:cNvSpPr txBox="1"/>
          <p:nvPr userDrawn="1"/>
        </p:nvSpPr>
        <p:spPr>
          <a:xfrm>
            <a:off x="383907" y="6267664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mangroup.com</a:t>
            </a:r>
            <a:endParaRPr lang="en-GB" sz="800" spc="55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BB1D8C71-C46B-43FB-8718-0BC985FAD7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3908" y="4082988"/>
            <a:ext cx="3519877" cy="3385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067A97D6-6B85-4078-9232-2F691AE65611}" type="datetime3">
              <a:rPr lang="en-US" smtClean="0"/>
              <a:t>23 September 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96045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slide -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694BD34-3180-D411-4A2B-6BA518A170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81B42F-3040-A0A7-E1E6-5FD802E27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178895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ur slide -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435F4B-8E8A-47A0-944B-5D9538AF4E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E48206-BC0C-47BD-8FE1-900014F50460}"/>
              </a:ext>
            </a:extLst>
          </p:cNvPr>
          <p:cNvSpPr txBox="1"/>
          <p:nvPr userDrawn="1"/>
        </p:nvSpPr>
        <p:spPr>
          <a:xfrm>
            <a:off x="1610591" y="6356872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rculation</a:t>
            </a:r>
            <a:r>
              <a:rPr lang="en-GB" sz="800" spc="1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ed</a:t>
            </a:r>
            <a:r>
              <a:rPr lang="en-GB" sz="800" spc="12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GB" sz="800" spc="1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rcia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712C01A-ACE0-4CE0-8754-8A6F869B3F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908" y="6321119"/>
            <a:ext cx="739897" cy="245411"/>
          </a:xfrm>
          <a:prstGeom prst="rect">
            <a:avLst/>
          </a:prstGeom>
        </p:spPr>
      </p:pic>
      <p:sp>
        <p:nvSpPr>
          <p:cNvPr id="9" name="bg object 18">
            <a:extLst>
              <a:ext uri="{FF2B5EF4-FFF2-40B4-BE49-F238E27FC236}">
                <a16:creationId xmlns:a16="http://schemas.microsoft.com/office/drawing/2014/main" id="{B8FE5730-15CF-45F0-AB3C-EC8D491D8C11}"/>
              </a:ext>
            </a:extLst>
          </p:cNvPr>
          <p:cNvSpPr/>
          <p:nvPr userDrawn="1"/>
        </p:nvSpPr>
        <p:spPr>
          <a:xfrm>
            <a:off x="11307847" y="6356872"/>
            <a:ext cx="884153" cy="209659"/>
          </a:xfrm>
          <a:custGeom>
            <a:avLst/>
            <a:gdLst/>
            <a:ahLst/>
            <a:cxnLst/>
            <a:rect l="l" t="t" r="r" b="b"/>
            <a:pathLst>
              <a:path w="1566544" h="371475">
                <a:moveTo>
                  <a:pt x="214210" y="0"/>
                </a:moveTo>
                <a:lnTo>
                  <a:pt x="165100" y="0"/>
                </a:lnTo>
                <a:lnTo>
                  <a:pt x="0" y="370878"/>
                </a:lnTo>
                <a:lnTo>
                  <a:pt x="49110" y="370878"/>
                </a:lnTo>
                <a:lnTo>
                  <a:pt x="214210" y="0"/>
                </a:lnTo>
                <a:close/>
              </a:path>
              <a:path w="1566544" h="371475">
                <a:moveTo>
                  <a:pt x="1566252" y="0"/>
                </a:moveTo>
                <a:lnTo>
                  <a:pt x="254063" y="0"/>
                </a:lnTo>
                <a:lnTo>
                  <a:pt x="88950" y="370878"/>
                </a:lnTo>
                <a:lnTo>
                  <a:pt x="1566252" y="370878"/>
                </a:lnTo>
                <a:lnTo>
                  <a:pt x="1566252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8CECE90-0B6C-497D-ADB5-F0A29B2D0031}"/>
              </a:ext>
            </a:extLst>
          </p:cNvPr>
          <p:cNvSpPr txBox="1"/>
          <p:nvPr userDrawn="1"/>
        </p:nvSpPr>
        <p:spPr>
          <a:xfrm>
            <a:off x="11464173" y="6356872"/>
            <a:ext cx="5715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CAB9123-6C5D-6742-A884-75399720DA2F}" type="slidenum">
              <a:rPr 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AD47C1A-2C59-B90D-9F24-CEE7BA475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881310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ur slide -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6D36AB-DAB0-6AAE-8698-A08D0635F1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58DF92B-444B-450C-B2F4-A79799B25837}"/>
              </a:ext>
            </a:extLst>
          </p:cNvPr>
          <p:cNvSpPr txBox="1"/>
          <p:nvPr userDrawn="1"/>
        </p:nvSpPr>
        <p:spPr>
          <a:xfrm>
            <a:off x="1610591" y="6356872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rculation</a:t>
            </a:r>
            <a:r>
              <a:rPr lang="en-GB" sz="800" spc="1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ed</a:t>
            </a:r>
            <a:r>
              <a:rPr lang="en-GB" sz="800" spc="12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GB" sz="800" spc="1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rcia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772C313-D795-46AE-8166-2389B03542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908" y="6321119"/>
            <a:ext cx="739897" cy="245411"/>
          </a:xfrm>
          <a:prstGeom prst="rect">
            <a:avLst/>
          </a:prstGeom>
        </p:spPr>
      </p:pic>
      <p:sp>
        <p:nvSpPr>
          <p:cNvPr id="9" name="bg object 18">
            <a:extLst>
              <a:ext uri="{FF2B5EF4-FFF2-40B4-BE49-F238E27FC236}">
                <a16:creationId xmlns:a16="http://schemas.microsoft.com/office/drawing/2014/main" id="{040C9277-5BEA-4CEB-83C3-1F9BF1AD2140}"/>
              </a:ext>
            </a:extLst>
          </p:cNvPr>
          <p:cNvSpPr/>
          <p:nvPr userDrawn="1"/>
        </p:nvSpPr>
        <p:spPr>
          <a:xfrm>
            <a:off x="11307847" y="6356872"/>
            <a:ext cx="884153" cy="209659"/>
          </a:xfrm>
          <a:custGeom>
            <a:avLst/>
            <a:gdLst/>
            <a:ahLst/>
            <a:cxnLst/>
            <a:rect l="l" t="t" r="r" b="b"/>
            <a:pathLst>
              <a:path w="1566544" h="371475">
                <a:moveTo>
                  <a:pt x="214210" y="0"/>
                </a:moveTo>
                <a:lnTo>
                  <a:pt x="165100" y="0"/>
                </a:lnTo>
                <a:lnTo>
                  <a:pt x="0" y="370878"/>
                </a:lnTo>
                <a:lnTo>
                  <a:pt x="49110" y="370878"/>
                </a:lnTo>
                <a:lnTo>
                  <a:pt x="214210" y="0"/>
                </a:lnTo>
                <a:close/>
              </a:path>
              <a:path w="1566544" h="371475">
                <a:moveTo>
                  <a:pt x="1566252" y="0"/>
                </a:moveTo>
                <a:lnTo>
                  <a:pt x="254063" y="0"/>
                </a:lnTo>
                <a:lnTo>
                  <a:pt x="88950" y="370878"/>
                </a:lnTo>
                <a:lnTo>
                  <a:pt x="1566252" y="370878"/>
                </a:lnTo>
                <a:lnTo>
                  <a:pt x="1566252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02B5150-995D-45C5-872C-41053A7CCDB2}"/>
              </a:ext>
            </a:extLst>
          </p:cNvPr>
          <p:cNvSpPr txBox="1"/>
          <p:nvPr userDrawn="1"/>
        </p:nvSpPr>
        <p:spPr>
          <a:xfrm>
            <a:off x="11464173" y="6356872"/>
            <a:ext cx="5715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CAB9123-6C5D-6742-A884-75399720DA2F}" type="slidenum">
              <a:rPr 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DEAD1E-EFFC-6957-6E8E-0B38F6BBB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1696427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7200" y="839096"/>
            <a:ext cx="11217600" cy="533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680" y="42397"/>
            <a:ext cx="11216640" cy="52775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0860902" y="6557502"/>
            <a:ext cx="553997" cy="276999"/>
          </a:xfrm>
        </p:spPr>
        <p:txBody>
          <a:bodyPr/>
          <a:lstStyle/>
          <a:p>
            <a:pPr algn="ctr"/>
            <a:fld id="{FED8DB98-D6AB-42CA-B53D-39E1BED6D0B7}" type="slidenum">
              <a:rPr lang="en-US" smtClean="0"/>
              <a:pPr algn="ct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397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1" orient="horz" pos="3894">
          <p15:clr>
            <a:srgbClr val="F26B43"/>
          </p15:clr>
        </p15:guide>
        <p15:guide id="22" pos="5532">
          <p15:clr>
            <a:srgbClr val="F26B43"/>
          </p15:clr>
        </p15:guide>
        <p15:guide id="23" pos="224">
          <p15:clr>
            <a:srgbClr val="F26B43"/>
          </p15:clr>
        </p15:guide>
        <p15:guide id="24" orient="horz" pos="528">
          <p15:clr>
            <a:srgbClr val="F26B43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BA6921CE-6E1E-C202-1B66-BB421D84D6D8}"/>
              </a:ext>
            </a:extLst>
          </p:cNvPr>
          <p:cNvGrpSpPr/>
          <p:nvPr userDrawn="1"/>
        </p:nvGrpSpPr>
        <p:grpSpPr>
          <a:xfrm>
            <a:off x="4664822" y="1853965"/>
            <a:ext cx="7527178" cy="3172826"/>
            <a:chOff x="6843171" y="2880169"/>
            <a:chExt cx="13261527" cy="5589946"/>
          </a:xfrm>
        </p:grpSpPr>
        <p:sp>
          <p:nvSpPr>
            <p:cNvPr id="10" name="object 3">
              <a:extLst>
                <a:ext uri="{FF2B5EF4-FFF2-40B4-BE49-F238E27FC236}">
                  <a16:creationId xmlns:a16="http://schemas.microsoft.com/office/drawing/2014/main" id="{FD4D5D13-8FCC-5EAE-58A6-A87C971D22EF}"/>
                </a:ext>
              </a:extLst>
            </p:cNvPr>
            <p:cNvSpPr/>
            <p:nvPr/>
          </p:nvSpPr>
          <p:spPr>
            <a:xfrm>
              <a:off x="11915702" y="5512356"/>
              <a:ext cx="1968500" cy="2938780"/>
            </a:xfrm>
            <a:custGeom>
              <a:avLst/>
              <a:gdLst/>
              <a:ahLst/>
              <a:cxnLst/>
              <a:rect l="l" t="t" r="r" b="b"/>
              <a:pathLst>
                <a:path w="1968500" h="2938779">
                  <a:moveTo>
                    <a:pt x="1968128" y="1983897"/>
                  </a:moveTo>
                  <a:lnTo>
                    <a:pt x="1403213" y="2938350"/>
                  </a:lnTo>
                  <a:lnTo>
                    <a:pt x="0" y="954358"/>
                  </a:lnTo>
                  <a:lnTo>
                    <a:pt x="564872" y="0"/>
                  </a:lnTo>
                  <a:lnTo>
                    <a:pt x="1968128" y="1983897"/>
                  </a:lnTo>
                  <a:close/>
                </a:path>
              </a:pathLst>
            </a:custGeom>
            <a:ln w="18962">
              <a:solidFill>
                <a:srgbClr val="FF619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" name="object 4">
              <a:extLst>
                <a:ext uri="{FF2B5EF4-FFF2-40B4-BE49-F238E27FC236}">
                  <a16:creationId xmlns:a16="http://schemas.microsoft.com/office/drawing/2014/main" id="{021EFEF1-7524-14D5-6032-5D75D9F50837}"/>
                </a:ext>
              </a:extLst>
            </p:cNvPr>
            <p:cNvSpPr/>
            <p:nvPr/>
          </p:nvSpPr>
          <p:spPr>
            <a:xfrm>
              <a:off x="15772093" y="3874620"/>
              <a:ext cx="4332605" cy="4595495"/>
            </a:xfrm>
            <a:custGeom>
              <a:avLst/>
              <a:gdLst/>
              <a:ahLst/>
              <a:cxnLst/>
              <a:rect l="l" t="t" r="r" b="b"/>
              <a:pathLst>
                <a:path w="4332605" h="4595495">
                  <a:moveTo>
                    <a:pt x="0" y="2343101"/>
                  </a:moveTo>
                  <a:lnTo>
                    <a:pt x="4332006" y="4595492"/>
                  </a:lnTo>
                </a:path>
                <a:path w="4332605" h="4595495">
                  <a:moveTo>
                    <a:pt x="4332006" y="2197142"/>
                  </a:moveTo>
                  <a:lnTo>
                    <a:pt x="149073" y="0"/>
                  </a:lnTo>
                  <a:lnTo>
                    <a:pt x="0" y="2343101"/>
                  </a:lnTo>
                </a:path>
              </a:pathLst>
            </a:custGeom>
            <a:ln w="18962">
              <a:solidFill>
                <a:srgbClr val="FF619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" name="object 5">
              <a:extLst>
                <a:ext uri="{FF2B5EF4-FFF2-40B4-BE49-F238E27FC236}">
                  <a16:creationId xmlns:a16="http://schemas.microsoft.com/office/drawing/2014/main" id="{2734B5CF-10E2-0AFB-EA4E-1673608BFA24}"/>
                </a:ext>
              </a:extLst>
            </p:cNvPr>
            <p:cNvSpPr/>
            <p:nvPr/>
          </p:nvSpPr>
          <p:spPr>
            <a:xfrm>
              <a:off x="6843171" y="2880169"/>
              <a:ext cx="3718560" cy="3296285"/>
            </a:xfrm>
            <a:custGeom>
              <a:avLst/>
              <a:gdLst/>
              <a:ahLst/>
              <a:cxnLst/>
              <a:rect l="l" t="t" r="r" b="b"/>
              <a:pathLst>
                <a:path w="3718559" h="3296285">
                  <a:moveTo>
                    <a:pt x="2086596" y="0"/>
                  </a:moveTo>
                  <a:lnTo>
                    <a:pt x="0" y="2983008"/>
                  </a:lnTo>
                  <a:lnTo>
                    <a:pt x="1631699" y="3296161"/>
                  </a:lnTo>
                  <a:lnTo>
                    <a:pt x="3718200" y="313194"/>
                  </a:lnTo>
                  <a:lnTo>
                    <a:pt x="2086596" y="0"/>
                  </a:lnTo>
                  <a:close/>
                </a:path>
              </a:pathLst>
            </a:custGeom>
            <a:ln w="18962">
              <a:solidFill>
                <a:srgbClr val="FF619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4" name="object 12">
            <a:extLst>
              <a:ext uri="{FF2B5EF4-FFF2-40B4-BE49-F238E27FC236}">
                <a16:creationId xmlns:a16="http://schemas.microsoft.com/office/drawing/2014/main" id="{AB432B6B-B4FB-FC09-9CDE-F1D56E511984}"/>
              </a:ext>
            </a:extLst>
          </p:cNvPr>
          <p:cNvSpPr txBox="1">
            <a:spLocks/>
          </p:cNvSpPr>
          <p:nvPr userDrawn="1"/>
        </p:nvSpPr>
        <p:spPr>
          <a:xfrm>
            <a:off x="288132" y="1642095"/>
            <a:ext cx="654025" cy="1538883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12700">
              <a:lnSpc>
                <a:spcPct val="100000"/>
              </a:lnSpc>
              <a:spcBef>
                <a:spcPts val="140"/>
              </a:spcBef>
              <a:tabLst>
                <a:tab pos="9925685" algn="l"/>
              </a:tabLst>
            </a:pPr>
            <a:r>
              <a:rPr lang="en-GB" sz="10000" dirty="0"/>
              <a:t>“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06B65F-581D-D5A9-59B6-C552ABF69C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7723" y="2609504"/>
            <a:ext cx="7426326" cy="2598117"/>
          </a:xfrm>
        </p:spPr>
        <p:txBody>
          <a:bodyPr>
            <a:norm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GB" dirty="0"/>
              <a:t>Delivering a streamlined reporting service that gives a direct and transparent view of the quality of our work, and creates value for customers and World Courier.</a:t>
            </a:r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F63E76E-395A-FAA7-5830-77D4E7B59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30000" cy="814521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480C5E3-9738-AF69-964C-586C5CCA25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9646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spcBef>
                <a:spcPts val="1200"/>
              </a:spcBef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74080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A160C7F-3E21-6602-9799-1D43D797C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30000" cy="814521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6B6BCD8-1A39-0611-98FD-FFF847660C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9646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spcBef>
                <a:spcPts val="1200"/>
              </a:spcBef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30019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\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22112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Li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35F4A639-08E5-4A72-BA2B-5D892876578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81000" y="1601152"/>
            <a:ext cx="11430000" cy="365760"/>
          </a:xfrm>
          <a:custGeom>
            <a:avLst/>
            <a:gdLst>
              <a:gd name="connsiteX0" fmla="*/ 102870 w 11430000"/>
              <a:gd name="connsiteY0" fmla="*/ 0 h 411480"/>
              <a:gd name="connsiteX1" fmla="*/ 11430000 w 11430000"/>
              <a:gd name="connsiteY1" fmla="*/ 0 h 411480"/>
              <a:gd name="connsiteX2" fmla="*/ 11327130 w 11430000"/>
              <a:gd name="connsiteY2" fmla="*/ 411480 h 411480"/>
              <a:gd name="connsiteX3" fmla="*/ 0 w 11430000"/>
              <a:gd name="connsiteY3" fmla="*/ 411480 h 411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11480">
                <a:moveTo>
                  <a:pt x="102870" y="0"/>
                </a:moveTo>
                <a:lnTo>
                  <a:pt x="11430000" y="0"/>
                </a:lnTo>
                <a:lnTo>
                  <a:pt x="11327130" y="411480"/>
                </a:lnTo>
                <a:lnTo>
                  <a:pt x="0" y="4114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105156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600" b="1" baseline="0"/>
            </a:lvl1pPr>
            <a:lvl2pPr marL="0" indent="0">
              <a:lnSpc>
                <a:spcPct val="100000"/>
              </a:lnSpc>
              <a:spcBef>
                <a:spcPts val="2100"/>
              </a:spcBef>
              <a:buNone/>
              <a:defRPr sz="1400" baseline="0">
                <a:solidFill>
                  <a:schemeClr val="tx1"/>
                </a:solidFill>
              </a:defRPr>
            </a:lvl2pPr>
            <a:lvl3pPr marL="1200150" indent="-285750">
              <a:lnSpc>
                <a:spcPct val="90000"/>
              </a:lnSpc>
              <a:spcBef>
                <a:spcPts val="1000"/>
              </a:spcBef>
              <a:buNone/>
              <a:defRPr lang="en-US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5396A93-7AB1-4528-BDE2-D0E1DC0A5A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7106" y="1509712"/>
            <a:ext cx="731520" cy="548640"/>
          </a:xfrm>
          <a:prstGeom prst="flowChartInputOutput">
            <a:avLst/>
          </a:prstGeom>
          <a:solidFill>
            <a:schemeClr val="tx2"/>
          </a:solidFill>
        </p:spPr>
        <p:txBody>
          <a:bodyPr lIns="45720" rIns="4572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600" b="1" i="0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3pPr>
            <a:lvl4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30C33A4-A8F3-469E-93A7-19A441E2BA24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81000" y="2294291"/>
            <a:ext cx="11430000" cy="365760"/>
          </a:xfrm>
          <a:custGeom>
            <a:avLst/>
            <a:gdLst>
              <a:gd name="connsiteX0" fmla="*/ 102870 w 11430000"/>
              <a:gd name="connsiteY0" fmla="*/ 0 h 411480"/>
              <a:gd name="connsiteX1" fmla="*/ 11430000 w 11430000"/>
              <a:gd name="connsiteY1" fmla="*/ 0 h 411480"/>
              <a:gd name="connsiteX2" fmla="*/ 11327130 w 11430000"/>
              <a:gd name="connsiteY2" fmla="*/ 411480 h 411480"/>
              <a:gd name="connsiteX3" fmla="*/ 0 w 11430000"/>
              <a:gd name="connsiteY3" fmla="*/ 411480 h 411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11480">
                <a:moveTo>
                  <a:pt x="102870" y="0"/>
                </a:moveTo>
                <a:lnTo>
                  <a:pt x="11430000" y="0"/>
                </a:lnTo>
                <a:lnTo>
                  <a:pt x="11327130" y="411480"/>
                </a:lnTo>
                <a:lnTo>
                  <a:pt x="0" y="4114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105156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600" b="1" baseline="0"/>
            </a:lvl1pPr>
            <a:lvl2pPr marL="0" indent="0">
              <a:lnSpc>
                <a:spcPct val="100000"/>
              </a:lnSpc>
              <a:spcBef>
                <a:spcPts val="2100"/>
              </a:spcBef>
              <a:buNone/>
              <a:defRPr lang="en-GB" sz="1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indent="-285750">
              <a:lnSpc>
                <a:spcPct val="90000"/>
              </a:lnSpc>
              <a:spcBef>
                <a:spcPts val="1000"/>
              </a:spcBef>
              <a:buNone/>
              <a:defRPr lang="en-US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1"/>
            <a:r>
              <a:rPr lang="en-GB" dirty="0"/>
              <a:t>Click to edit Master text styles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D1F859AA-70B4-408C-8676-499785F437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106" y="2202851"/>
            <a:ext cx="731520" cy="548640"/>
          </a:xfrm>
          <a:prstGeom prst="flowChartInputOutput">
            <a:avLst/>
          </a:prstGeom>
          <a:solidFill>
            <a:schemeClr val="bg1">
              <a:lumMod val="85000"/>
            </a:schemeClr>
          </a:solidFill>
        </p:spPr>
        <p:txBody>
          <a:bodyPr lIns="45720" rIns="4572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600" b="1" i="0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3pPr>
            <a:lvl4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C4AB91E0-7E1F-4409-BB3A-4EB7D9F983C2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381000" y="2987430"/>
            <a:ext cx="11430000" cy="365760"/>
          </a:xfrm>
          <a:custGeom>
            <a:avLst/>
            <a:gdLst>
              <a:gd name="connsiteX0" fmla="*/ 102870 w 11430000"/>
              <a:gd name="connsiteY0" fmla="*/ 0 h 411480"/>
              <a:gd name="connsiteX1" fmla="*/ 11430000 w 11430000"/>
              <a:gd name="connsiteY1" fmla="*/ 0 h 411480"/>
              <a:gd name="connsiteX2" fmla="*/ 11327130 w 11430000"/>
              <a:gd name="connsiteY2" fmla="*/ 411480 h 411480"/>
              <a:gd name="connsiteX3" fmla="*/ 0 w 11430000"/>
              <a:gd name="connsiteY3" fmla="*/ 411480 h 411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11480">
                <a:moveTo>
                  <a:pt x="102870" y="0"/>
                </a:moveTo>
                <a:lnTo>
                  <a:pt x="11430000" y="0"/>
                </a:lnTo>
                <a:lnTo>
                  <a:pt x="11327130" y="411480"/>
                </a:lnTo>
                <a:lnTo>
                  <a:pt x="0" y="4114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105156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600" b="1" baseline="0"/>
            </a:lvl1pPr>
            <a:lvl2pPr marL="0" indent="0">
              <a:lnSpc>
                <a:spcPct val="100000"/>
              </a:lnSpc>
              <a:spcBef>
                <a:spcPts val="2100"/>
              </a:spcBef>
              <a:buNone/>
              <a:defRPr lang="en-GB" sz="1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indent="-285750">
              <a:lnSpc>
                <a:spcPct val="90000"/>
              </a:lnSpc>
              <a:spcBef>
                <a:spcPts val="1000"/>
              </a:spcBef>
              <a:buNone/>
              <a:defRPr lang="en-US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1"/>
            <a:r>
              <a:rPr lang="en-GB" dirty="0"/>
              <a:t>Click to edit Master text styles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B0C74E1-3AAA-43C1-9D8C-25E131BD5F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106" y="2895990"/>
            <a:ext cx="731520" cy="548640"/>
          </a:xfrm>
          <a:prstGeom prst="flowChartInputOutput">
            <a:avLst/>
          </a:prstGeom>
          <a:solidFill>
            <a:schemeClr val="bg1">
              <a:lumMod val="85000"/>
            </a:schemeClr>
          </a:solidFill>
        </p:spPr>
        <p:txBody>
          <a:bodyPr lIns="45720" rIns="4572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600" b="1" i="0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3pPr>
            <a:lvl4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DCC4BA1A-C1C2-4373-85B3-130A825754CB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381000" y="3680569"/>
            <a:ext cx="11430000" cy="365760"/>
          </a:xfrm>
          <a:custGeom>
            <a:avLst/>
            <a:gdLst>
              <a:gd name="connsiteX0" fmla="*/ 102870 w 11430000"/>
              <a:gd name="connsiteY0" fmla="*/ 0 h 411480"/>
              <a:gd name="connsiteX1" fmla="*/ 11430000 w 11430000"/>
              <a:gd name="connsiteY1" fmla="*/ 0 h 411480"/>
              <a:gd name="connsiteX2" fmla="*/ 11327130 w 11430000"/>
              <a:gd name="connsiteY2" fmla="*/ 411480 h 411480"/>
              <a:gd name="connsiteX3" fmla="*/ 0 w 11430000"/>
              <a:gd name="connsiteY3" fmla="*/ 411480 h 411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11480">
                <a:moveTo>
                  <a:pt x="102870" y="0"/>
                </a:moveTo>
                <a:lnTo>
                  <a:pt x="11430000" y="0"/>
                </a:lnTo>
                <a:lnTo>
                  <a:pt x="11327130" y="411480"/>
                </a:lnTo>
                <a:lnTo>
                  <a:pt x="0" y="4114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1051560" anchor="ctr"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600" b="1" baseline="0"/>
            </a:lvl1pPr>
            <a:lvl2pPr marL="0" indent="0">
              <a:lnSpc>
                <a:spcPct val="100000"/>
              </a:lnSpc>
              <a:spcBef>
                <a:spcPts val="2100"/>
              </a:spcBef>
              <a:buNone/>
              <a:defRPr lang="en-GB" sz="1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indent="-285750">
              <a:lnSpc>
                <a:spcPct val="90000"/>
              </a:lnSpc>
              <a:spcBef>
                <a:spcPts val="1000"/>
              </a:spcBef>
              <a:buNone/>
              <a:defRPr lang="en-US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>
              <a:lnSpc>
                <a:spcPct val="100000"/>
              </a:lnSpc>
              <a:spcBef>
                <a:spcPts val="2100"/>
              </a:spcBef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1"/>
            <a:r>
              <a:rPr lang="en-GB" dirty="0"/>
              <a:t>Click to edit Master text styles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F6E2320-1437-4667-BC1B-C44C85F221A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106" y="3589129"/>
            <a:ext cx="731520" cy="548640"/>
          </a:xfrm>
          <a:prstGeom prst="flowChartInputOutput">
            <a:avLst/>
          </a:prstGeom>
          <a:solidFill>
            <a:schemeClr val="bg1">
              <a:lumMod val="85000"/>
            </a:schemeClr>
          </a:solidFill>
        </p:spPr>
        <p:txBody>
          <a:bodyPr lIns="45720" rIns="4572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1600" b="1" i="0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3pPr>
            <a:lvl4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4pPr>
            <a:lvl5pPr marL="0" indent="0" algn="ctr">
              <a:buNone/>
              <a:defRPr sz="1600" baseline="0"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EE9F9E-25AB-C5BE-F769-7BA667C17B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9422632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and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C52CABD9-F1FB-1BB2-1626-0C1DFA7770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anchor="ctr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9613993-9D9F-5289-7DF2-83E3549ED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0612218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0C0A51-525B-B866-2342-C7CBBC887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749425"/>
            <a:ext cx="11430000" cy="44100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8B2FC8A-417E-1F89-D7CA-F4F5D2552B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A0D954-5225-045F-26B5-0A16C31D5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16068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_6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14E23-4D5A-C225-A302-6C9C57B22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643127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bg object 17">
            <a:extLst>
              <a:ext uri="{FF2B5EF4-FFF2-40B4-BE49-F238E27FC236}">
                <a16:creationId xmlns:a16="http://schemas.microsoft.com/office/drawing/2014/main" id="{5AE8EB3F-06DA-9660-72EB-9FC6330A4F34}"/>
              </a:ext>
            </a:extLst>
          </p:cNvPr>
          <p:cNvSpPr/>
          <p:nvPr userDrawn="1"/>
        </p:nvSpPr>
        <p:spPr>
          <a:xfrm>
            <a:off x="3791345" y="1"/>
            <a:ext cx="8400655" cy="6858000"/>
          </a:xfrm>
          <a:custGeom>
            <a:avLst/>
            <a:gdLst/>
            <a:ahLst/>
            <a:cxnLst/>
            <a:rect l="l" t="t" r="r" b="b"/>
            <a:pathLst>
              <a:path w="13852525" h="11308715">
                <a:moveTo>
                  <a:pt x="13663594" y="541274"/>
                </a:moveTo>
                <a:lnTo>
                  <a:pt x="13337552" y="886374"/>
                </a:lnTo>
                <a:lnTo>
                  <a:pt x="13458406" y="2559160"/>
                </a:lnTo>
                <a:lnTo>
                  <a:pt x="13784438" y="2214071"/>
                </a:lnTo>
                <a:lnTo>
                  <a:pt x="13663594" y="541274"/>
                </a:lnTo>
                <a:close/>
              </a:path>
              <a:path w="13852525" h="11308715">
                <a:moveTo>
                  <a:pt x="12862427" y="0"/>
                </a:moveTo>
                <a:lnTo>
                  <a:pt x="12842864" y="0"/>
                </a:lnTo>
                <a:lnTo>
                  <a:pt x="12849922" y="22955"/>
                </a:lnTo>
                <a:lnTo>
                  <a:pt x="12862427" y="0"/>
                </a:lnTo>
                <a:close/>
              </a:path>
              <a:path w="13852525" h="11308715">
                <a:moveTo>
                  <a:pt x="1356744" y="11181556"/>
                </a:moveTo>
                <a:lnTo>
                  <a:pt x="1317802" y="11206956"/>
                </a:lnTo>
                <a:lnTo>
                  <a:pt x="1288384" y="11308556"/>
                </a:lnTo>
                <a:lnTo>
                  <a:pt x="1318869" y="11308556"/>
                </a:lnTo>
                <a:lnTo>
                  <a:pt x="1356744" y="11181556"/>
                </a:lnTo>
                <a:close/>
              </a:path>
              <a:path w="13852525" h="11308715">
                <a:moveTo>
                  <a:pt x="2108543" y="10737056"/>
                </a:moveTo>
                <a:lnTo>
                  <a:pt x="1991771" y="10813256"/>
                </a:lnTo>
                <a:lnTo>
                  <a:pt x="1863059" y="11308556"/>
                </a:lnTo>
                <a:lnTo>
                  <a:pt x="1960085" y="11308556"/>
                </a:lnTo>
                <a:lnTo>
                  <a:pt x="2108543" y="10737056"/>
                </a:lnTo>
                <a:close/>
              </a:path>
              <a:path w="13852525" h="11308715">
                <a:moveTo>
                  <a:pt x="2860321" y="10292556"/>
                </a:moveTo>
                <a:lnTo>
                  <a:pt x="2665698" y="10419556"/>
                </a:lnTo>
                <a:lnTo>
                  <a:pt x="2464479" y="11308556"/>
                </a:lnTo>
                <a:lnTo>
                  <a:pt x="2631287" y="11308556"/>
                </a:lnTo>
                <a:lnTo>
                  <a:pt x="2860321" y="10292556"/>
                </a:lnTo>
                <a:close/>
              </a:path>
              <a:path w="13852525" h="11308715">
                <a:moveTo>
                  <a:pt x="4206856" y="10991056"/>
                </a:moveTo>
                <a:lnTo>
                  <a:pt x="3978528" y="11232356"/>
                </a:lnTo>
                <a:lnTo>
                  <a:pt x="3984302" y="11308556"/>
                </a:lnTo>
                <a:lnTo>
                  <a:pt x="4230674" y="11308556"/>
                </a:lnTo>
                <a:lnTo>
                  <a:pt x="4206856" y="10991056"/>
                </a:lnTo>
                <a:close/>
              </a:path>
              <a:path w="13852525" h="11308715">
                <a:moveTo>
                  <a:pt x="4844187" y="10356056"/>
                </a:moveTo>
                <a:lnTo>
                  <a:pt x="4550207" y="10660856"/>
                </a:lnTo>
                <a:lnTo>
                  <a:pt x="4626194" y="11308556"/>
                </a:lnTo>
                <a:lnTo>
                  <a:pt x="4956321" y="11308556"/>
                </a:lnTo>
                <a:lnTo>
                  <a:pt x="4844187" y="10356056"/>
                </a:lnTo>
                <a:close/>
              </a:path>
              <a:path w="13852525" h="11308715">
                <a:moveTo>
                  <a:pt x="5579023" y="11168856"/>
                </a:moveTo>
                <a:lnTo>
                  <a:pt x="5495758" y="11308556"/>
                </a:lnTo>
                <a:lnTo>
                  <a:pt x="5639011" y="11308556"/>
                </a:lnTo>
                <a:lnTo>
                  <a:pt x="5579023" y="11168856"/>
                </a:lnTo>
                <a:close/>
              </a:path>
              <a:path w="13852525" h="11308715">
                <a:moveTo>
                  <a:pt x="6049721" y="10356056"/>
                </a:moveTo>
                <a:lnTo>
                  <a:pt x="5788221" y="10825956"/>
                </a:lnTo>
                <a:lnTo>
                  <a:pt x="6010322" y="11308556"/>
                </a:lnTo>
                <a:lnTo>
                  <a:pt x="6481959" y="11308556"/>
                </a:lnTo>
                <a:lnTo>
                  <a:pt x="6049721" y="10356056"/>
                </a:lnTo>
                <a:close/>
              </a:path>
              <a:path w="13852525" h="11308715">
                <a:moveTo>
                  <a:pt x="6792159" y="10851356"/>
                </a:moveTo>
                <a:lnTo>
                  <a:pt x="6670546" y="11308556"/>
                </a:lnTo>
                <a:lnTo>
                  <a:pt x="7184035" y="11308556"/>
                </a:lnTo>
                <a:lnTo>
                  <a:pt x="6792159" y="10851356"/>
                </a:lnTo>
                <a:close/>
              </a:path>
              <a:path w="13852525" h="11308715">
                <a:moveTo>
                  <a:pt x="7666782" y="11130756"/>
                </a:moveTo>
                <a:lnTo>
                  <a:pt x="7667177" y="11308556"/>
                </a:lnTo>
                <a:lnTo>
                  <a:pt x="7938091" y="11308556"/>
                </a:lnTo>
                <a:lnTo>
                  <a:pt x="7666782" y="11130756"/>
                </a:lnTo>
                <a:close/>
              </a:path>
              <a:path w="13852525" h="11308715">
                <a:moveTo>
                  <a:pt x="9478281" y="10813256"/>
                </a:moveTo>
                <a:lnTo>
                  <a:pt x="7686195" y="10813256"/>
                </a:lnTo>
                <a:lnTo>
                  <a:pt x="8511158" y="11308556"/>
                </a:lnTo>
                <a:lnTo>
                  <a:pt x="8554593" y="11308556"/>
                </a:lnTo>
                <a:lnTo>
                  <a:pt x="8554315" y="10851356"/>
                </a:lnTo>
                <a:lnTo>
                  <a:pt x="9488564" y="10851356"/>
                </a:lnTo>
                <a:lnTo>
                  <a:pt x="9478281" y="10813256"/>
                </a:lnTo>
                <a:close/>
              </a:path>
              <a:path w="13852525" h="11308715">
                <a:moveTo>
                  <a:pt x="8619486" y="11168856"/>
                </a:moveTo>
                <a:lnTo>
                  <a:pt x="8658631" y="11308556"/>
                </a:lnTo>
                <a:lnTo>
                  <a:pt x="9042097" y="11308556"/>
                </a:lnTo>
                <a:lnTo>
                  <a:pt x="8619486" y="11168856"/>
                </a:lnTo>
                <a:close/>
              </a:path>
              <a:path w="13852525" h="11308715">
                <a:moveTo>
                  <a:pt x="9587425" y="10952956"/>
                </a:moveTo>
                <a:lnTo>
                  <a:pt x="9799117" y="11308556"/>
                </a:lnTo>
                <a:lnTo>
                  <a:pt x="10926641" y="11308556"/>
                </a:lnTo>
                <a:lnTo>
                  <a:pt x="10757923" y="11029156"/>
                </a:lnTo>
                <a:lnTo>
                  <a:pt x="9587425" y="10952956"/>
                </a:lnTo>
                <a:close/>
              </a:path>
              <a:path w="13852525" h="11308715">
                <a:moveTo>
                  <a:pt x="12527880" y="11029156"/>
                </a:moveTo>
                <a:lnTo>
                  <a:pt x="11234160" y="11219656"/>
                </a:lnTo>
                <a:lnTo>
                  <a:pt x="11329752" y="11308556"/>
                </a:lnTo>
                <a:lnTo>
                  <a:pt x="12829487" y="11308556"/>
                </a:lnTo>
                <a:lnTo>
                  <a:pt x="12527880" y="11029156"/>
                </a:lnTo>
                <a:close/>
              </a:path>
              <a:path w="13852525" h="11308715">
                <a:moveTo>
                  <a:pt x="7638137" y="10546556"/>
                </a:moveTo>
                <a:lnTo>
                  <a:pt x="6890020" y="10546556"/>
                </a:lnTo>
                <a:lnTo>
                  <a:pt x="6887821" y="10559256"/>
                </a:lnTo>
                <a:lnTo>
                  <a:pt x="7563947" y="11270456"/>
                </a:lnTo>
                <a:lnTo>
                  <a:pt x="7686195" y="10813256"/>
                </a:lnTo>
                <a:lnTo>
                  <a:pt x="9478281" y="10813256"/>
                </a:lnTo>
                <a:lnTo>
                  <a:pt x="9437147" y="10660856"/>
                </a:lnTo>
                <a:lnTo>
                  <a:pt x="10524376" y="10660856"/>
                </a:lnTo>
                <a:lnTo>
                  <a:pt x="10516980" y="10648156"/>
                </a:lnTo>
                <a:lnTo>
                  <a:pt x="8499343" y="10648156"/>
                </a:lnTo>
                <a:lnTo>
                  <a:pt x="8414694" y="10597356"/>
                </a:lnTo>
                <a:lnTo>
                  <a:pt x="7686069" y="10597356"/>
                </a:lnTo>
                <a:lnTo>
                  <a:pt x="7638137" y="10546556"/>
                </a:lnTo>
                <a:close/>
              </a:path>
              <a:path w="13852525" h="11308715">
                <a:moveTo>
                  <a:pt x="3612099" y="9848056"/>
                </a:moveTo>
                <a:lnTo>
                  <a:pt x="3339678" y="10013156"/>
                </a:lnTo>
                <a:lnTo>
                  <a:pt x="3128616" y="11143456"/>
                </a:lnTo>
                <a:lnTo>
                  <a:pt x="3401069" y="10978356"/>
                </a:lnTo>
                <a:lnTo>
                  <a:pt x="3612099" y="9848056"/>
                </a:lnTo>
                <a:close/>
              </a:path>
              <a:path w="13852525" h="11308715">
                <a:moveTo>
                  <a:pt x="9488564" y="10851356"/>
                </a:moveTo>
                <a:lnTo>
                  <a:pt x="8556681" y="10851356"/>
                </a:lnTo>
                <a:lnTo>
                  <a:pt x="9567405" y="11143456"/>
                </a:lnTo>
                <a:lnTo>
                  <a:pt x="9488564" y="10851356"/>
                </a:lnTo>
                <a:close/>
              </a:path>
              <a:path w="13852525" h="11308715">
                <a:moveTo>
                  <a:pt x="5481518" y="9708356"/>
                </a:moveTo>
                <a:lnTo>
                  <a:pt x="5121885" y="10089356"/>
                </a:lnTo>
                <a:lnTo>
                  <a:pt x="5288310" y="11092656"/>
                </a:lnTo>
                <a:lnTo>
                  <a:pt x="5647953" y="10711656"/>
                </a:lnTo>
                <a:lnTo>
                  <a:pt x="5481518" y="9708356"/>
                </a:lnTo>
                <a:close/>
              </a:path>
              <a:path w="13852525" h="11308715">
                <a:moveTo>
                  <a:pt x="13851902" y="10571956"/>
                </a:moveTo>
                <a:lnTo>
                  <a:pt x="13158437" y="10838656"/>
                </a:lnTo>
                <a:lnTo>
                  <a:pt x="13506593" y="11029156"/>
                </a:lnTo>
                <a:lnTo>
                  <a:pt x="13851902" y="10889456"/>
                </a:lnTo>
                <a:lnTo>
                  <a:pt x="13851902" y="10571956"/>
                </a:lnTo>
                <a:close/>
              </a:path>
              <a:path w="13852525" h="11308715">
                <a:moveTo>
                  <a:pt x="6806761" y="10102056"/>
                </a:moveTo>
                <a:lnTo>
                  <a:pt x="6214962" y="10102056"/>
                </a:lnTo>
                <a:lnTo>
                  <a:pt x="6210816" y="10114756"/>
                </a:lnTo>
                <a:lnTo>
                  <a:pt x="6660446" y="10965656"/>
                </a:lnTo>
                <a:lnTo>
                  <a:pt x="6890020" y="10546556"/>
                </a:lnTo>
                <a:lnTo>
                  <a:pt x="7638137" y="10546556"/>
                </a:lnTo>
                <a:lnTo>
                  <a:pt x="7458393" y="10356056"/>
                </a:lnTo>
                <a:lnTo>
                  <a:pt x="6941610" y="10356056"/>
                </a:lnTo>
                <a:lnTo>
                  <a:pt x="6806761" y="10102056"/>
                </a:lnTo>
                <a:close/>
              </a:path>
              <a:path w="13852525" h="11308715">
                <a:moveTo>
                  <a:pt x="11697937" y="10241756"/>
                </a:moveTo>
                <a:lnTo>
                  <a:pt x="10502769" y="10483056"/>
                </a:lnTo>
                <a:lnTo>
                  <a:pt x="10933949" y="10902156"/>
                </a:lnTo>
                <a:lnTo>
                  <a:pt x="12129107" y="10660856"/>
                </a:lnTo>
                <a:lnTo>
                  <a:pt x="11697937" y="10241756"/>
                </a:lnTo>
                <a:close/>
              </a:path>
              <a:path w="13852525" h="11308715">
                <a:moveTo>
                  <a:pt x="4363898" y="9390856"/>
                </a:moveTo>
                <a:lnTo>
                  <a:pt x="4013595" y="9619456"/>
                </a:lnTo>
                <a:lnTo>
                  <a:pt x="3860447" y="10673556"/>
                </a:lnTo>
                <a:lnTo>
                  <a:pt x="4210719" y="10457656"/>
                </a:lnTo>
                <a:lnTo>
                  <a:pt x="4363898" y="9390856"/>
                </a:lnTo>
                <a:close/>
              </a:path>
              <a:path w="13852525" h="11308715">
                <a:moveTo>
                  <a:pt x="10524376" y="10660856"/>
                </a:moveTo>
                <a:lnTo>
                  <a:pt x="9441827" y="10660856"/>
                </a:lnTo>
                <a:lnTo>
                  <a:pt x="10531773" y="10673556"/>
                </a:lnTo>
                <a:lnTo>
                  <a:pt x="10524376" y="10660856"/>
                </a:lnTo>
                <a:close/>
              </a:path>
              <a:path w="13852525" h="11308715">
                <a:moveTo>
                  <a:pt x="9253203" y="10025856"/>
                </a:moveTo>
                <a:lnTo>
                  <a:pt x="7875927" y="10025856"/>
                </a:lnTo>
                <a:lnTo>
                  <a:pt x="8408372" y="10305256"/>
                </a:lnTo>
                <a:lnTo>
                  <a:pt x="8499343" y="10648156"/>
                </a:lnTo>
                <a:lnTo>
                  <a:pt x="10516980" y="10648156"/>
                </a:lnTo>
                <a:lnTo>
                  <a:pt x="10413427" y="10470356"/>
                </a:lnTo>
                <a:lnTo>
                  <a:pt x="9327893" y="10470356"/>
                </a:lnTo>
                <a:lnTo>
                  <a:pt x="8539708" y="10241756"/>
                </a:lnTo>
                <a:lnTo>
                  <a:pt x="8539834" y="10038556"/>
                </a:lnTo>
                <a:lnTo>
                  <a:pt x="9256753" y="10038556"/>
                </a:lnTo>
                <a:lnTo>
                  <a:pt x="9253203" y="10025856"/>
                </a:lnTo>
                <a:close/>
              </a:path>
              <a:path w="13852525" h="11308715">
                <a:moveTo>
                  <a:pt x="9207049" y="9860756"/>
                </a:moveTo>
                <a:lnTo>
                  <a:pt x="7259580" y="9860756"/>
                </a:lnTo>
                <a:lnTo>
                  <a:pt x="7685860" y="10254456"/>
                </a:lnTo>
                <a:lnTo>
                  <a:pt x="7686069" y="10597356"/>
                </a:lnTo>
                <a:lnTo>
                  <a:pt x="8414694" y="10597356"/>
                </a:lnTo>
                <a:lnTo>
                  <a:pt x="7822149" y="10241756"/>
                </a:lnTo>
                <a:lnTo>
                  <a:pt x="7875927" y="10025856"/>
                </a:lnTo>
                <a:lnTo>
                  <a:pt x="9253203" y="10025856"/>
                </a:lnTo>
                <a:lnTo>
                  <a:pt x="9207049" y="9860756"/>
                </a:lnTo>
                <a:close/>
              </a:path>
              <a:path w="13852525" h="11308715">
                <a:moveTo>
                  <a:pt x="13475066" y="9759156"/>
                </a:moveTo>
                <a:lnTo>
                  <a:pt x="12227920" y="10305256"/>
                </a:lnTo>
                <a:lnTo>
                  <a:pt x="12673708" y="10546556"/>
                </a:lnTo>
                <a:lnTo>
                  <a:pt x="13851902" y="10025856"/>
                </a:lnTo>
                <a:lnTo>
                  <a:pt x="13851902" y="9962356"/>
                </a:lnTo>
                <a:lnTo>
                  <a:pt x="13475066" y="9759156"/>
                </a:lnTo>
                <a:close/>
              </a:path>
              <a:path w="13852525" h="11308715">
                <a:moveTo>
                  <a:pt x="918223" y="9301956"/>
                </a:moveTo>
                <a:lnTo>
                  <a:pt x="874706" y="9314656"/>
                </a:lnTo>
                <a:lnTo>
                  <a:pt x="182915" y="10495756"/>
                </a:lnTo>
                <a:lnTo>
                  <a:pt x="226443" y="10470356"/>
                </a:lnTo>
                <a:lnTo>
                  <a:pt x="918223" y="9301956"/>
                </a:lnTo>
                <a:close/>
              </a:path>
              <a:path w="13852525" h="11308715">
                <a:moveTo>
                  <a:pt x="9256753" y="10038556"/>
                </a:moveTo>
                <a:lnTo>
                  <a:pt x="8539834" y="10038556"/>
                </a:lnTo>
                <a:lnTo>
                  <a:pt x="9147072" y="10152856"/>
                </a:lnTo>
                <a:lnTo>
                  <a:pt x="9327893" y="10470356"/>
                </a:lnTo>
                <a:lnTo>
                  <a:pt x="10413427" y="10470356"/>
                </a:lnTo>
                <a:lnTo>
                  <a:pt x="10272891" y="10229056"/>
                </a:lnTo>
                <a:lnTo>
                  <a:pt x="10279707" y="10229056"/>
                </a:lnTo>
                <a:lnTo>
                  <a:pt x="10877850" y="10076656"/>
                </a:lnTo>
                <a:lnTo>
                  <a:pt x="10113807" y="10076656"/>
                </a:lnTo>
                <a:lnTo>
                  <a:pt x="9263854" y="10063956"/>
                </a:lnTo>
                <a:lnTo>
                  <a:pt x="9256753" y="10038556"/>
                </a:lnTo>
                <a:close/>
              </a:path>
              <a:path w="13852525" h="11308715">
                <a:moveTo>
                  <a:pt x="6217188" y="9505156"/>
                </a:moveTo>
                <a:lnTo>
                  <a:pt x="5699250" y="9505156"/>
                </a:lnTo>
                <a:lnTo>
                  <a:pt x="5693554" y="9517856"/>
                </a:lnTo>
                <a:lnTo>
                  <a:pt x="5899569" y="10432256"/>
                </a:lnTo>
                <a:lnTo>
                  <a:pt x="6214962" y="10102056"/>
                </a:lnTo>
                <a:lnTo>
                  <a:pt x="6806761" y="10102056"/>
                </a:lnTo>
                <a:lnTo>
                  <a:pt x="6712367" y="9924256"/>
                </a:lnTo>
                <a:lnTo>
                  <a:pt x="6311860" y="9924256"/>
                </a:lnTo>
                <a:lnTo>
                  <a:pt x="6217188" y="9505156"/>
                </a:lnTo>
                <a:close/>
              </a:path>
              <a:path w="13852525" h="11308715">
                <a:moveTo>
                  <a:pt x="9853036" y="9543256"/>
                </a:moveTo>
                <a:lnTo>
                  <a:pt x="6729292" y="9543256"/>
                </a:lnTo>
                <a:lnTo>
                  <a:pt x="7027000" y="10025856"/>
                </a:lnTo>
                <a:lnTo>
                  <a:pt x="6941610" y="10356056"/>
                </a:lnTo>
                <a:lnTo>
                  <a:pt x="7458393" y="10356056"/>
                </a:lnTo>
                <a:lnTo>
                  <a:pt x="7158818" y="10038556"/>
                </a:lnTo>
                <a:lnTo>
                  <a:pt x="7259580" y="9860756"/>
                </a:lnTo>
                <a:lnTo>
                  <a:pt x="9207049" y="9860756"/>
                </a:lnTo>
                <a:lnTo>
                  <a:pt x="9850537" y="9809956"/>
                </a:lnTo>
                <a:lnTo>
                  <a:pt x="11233329" y="9809956"/>
                </a:lnTo>
                <a:lnTo>
                  <a:pt x="11116350" y="9695656"/>
                </a:lnTo>
                <a:lnTo>
                  <a:pt x="9943571" y="9695656"/>
                </a:lnTo>
                <a:lnTo>
                  <a:pt x="9853036" y="9543256"/>
                </a:lnTo>
                <a:close/>
              </a:path>
              <a:path w="13852525" h="11308715">
                <a:moveTo>
                  <a:pt x="1727580" y="9060656"/>
                </a:moveTo>
                <a:lnTo>
                  <a:pt x="1599951" y="9111456"/>
                </a:lnTo>
                <a:lnTo>
                  <a:pt x="979394" y="10229056"/>
                </a:lnTo>
                <a:lnTo>
                  <a:pt x="1107013" y="10190956"/>
                </a:lnTo>
                <a:lnTo>
                  <a:pt x="1727580" y="9060656"/>
                </a:lnTo>
                <a:close/>
              </a:path>
              <a:path w="13852525" h="11308715">
                <a:moveTo>
                  <a:pt x="5115655" y="8946356"/>
                </a:moveTo>
                <a:lnTo>
                  <a:pt x="4687553" y="9213056"/>
                </a:lnTo>
                <a:lnTo>
                  <a:pt x="4592258" y="10203656"/>
                </a:lnTo>
                <a:lnTo>
                  <a:pt x="5020360" y="9936956"/>
                </a:lnTo>
                <a:lnTo>
                  <a:pt x="5115655" y="8946356"/>
                </a:lnTo>
                <a:close/>
              </a:path>
              <a:path w="13852525" h="11308715">
                <a:moveTo>
                  <a:pt x="11233329" y="9809956"/>
                </a:moveTo>
                <a:lnTo>
                  <a:pt x="9850537" y="9809956"/>
                </a:lnTo>
                <a:lnTo>
                  <a:pt x="10113807" y="10076656"/>
                </a:lnTo>
                <a:lnTo>
                  <a:pt x="10877850" y="10076656"/>
                </a:lnTo>
                <a:lnTo>
                  <a:pt x="11376302" y="9949656"/>
                </a:lnTo>
                <a:lnTo>
                  <a:pt x="11233329" y="9809956"/>
                </a:lnTo>
                <a:close/>
              </a:path>
              <a:path w="13852525" h="11308715">
                <a:moveTo>
                  <a:pt x="12433862" y="9213056"/>
                </a:moveTo>
                <a:lnTo>
                  <a:pt x="11297383" y="9771856"/>
                </a:lnTo>
                <a:lnTo>
                  <a:pt x="11840833" y="10063956"/>
                </a:lnTo>
                <a:lnTo>
                  <a:pt x="12977322" y="9505156"/>
                </a:lnTo>
                <a:lnTo>
                  <a:pt x="12433862" y="9213056"/>
                </a:lnTo>
                <a:close/>
              </a:path>
              <a:path w="13852525" h="11308715">
                <a:moveTo>
                  <a:pt x="2536927" y="8832056"/>
                </a:moveTo>
                <a:lnTo>
                  <a:pt x="2325217" y="8908256"/>
                </a:lnTo>
                <a:lnTo>
                  <a:pt x="1775893" y="9975056"/>
                </a:lnTo>
                <a:lnTo>
                  <a:pt x="1987583" y="9911556"/>
                </a:lnTo>
                <a:lnTo>
                  <a:pt x="2536927" y="8832056"/>
                </a:lnTo>
                <a:close/>
              </a:path>
              <a:path w="13852525" h="11308715">
                <a:moveTo>
                  <a:pt x="10489852" y="9111456"/>
                </a:moveTo>
                <a:lnTo>
                  <a:pt x="6315661" y="9111456"/>
                </a:lnTo>
                <a:lnTo>
                  <a:pt x="6472200" y="9644856"/>
                </a:lnTo>
                <a:lnTo>
                  <a:pt x="6311860" y="9924256"/>
                </a:lnTo>
                <a:lnTo>
                  <a:pt x="6712367" y="9924256"/>
                </a:lnTo>
                <a:lnTo>
                  <a:pt x="6591003" y="9695656"/>
                </a:lnTo>
                <a:lnTo>
                  <a:pt x="6729292" y="9543256"/>
                </a:lnTo>
                <a:lnTo>
                  <a:pt x="9853036" y="9543256"/>
                </a:lnTo>
                <a:lnTo>
                  <a:pt x="9830402" y="9505156"/>
                </a:lnTo>
                <a:lnTo>
                  <a:pt x="10466644" y="9289256"/>
                </a:lnTo>
                <a:lnTo>
                  <a:pt x="11532261" y="9289256"/>
                </a:lnTo>
                <a:lnTo>
                  <a:pt x="11783015" y="9149556"/>
                </a:lnTo>
                <a:lnTo>
                  <a:pt x="10527909" y="9149556"/>
                </a:lnTo>
                <a:lnTo>
                  <a:pt x="10489852" y="9111456"/>
                </a:lnTo>
                <a:close/>
              </a:path>
              <a:path w="13852525" h="11308715">
                <a:moveTo>
                  <a:pt x="5854782" y="8819356"/>
                </a:moveTo>
                <a:lnTo>
                  <a:pt x="5368265" y="8819356"/>
                </a:lnTo>
                <a:lnTo>
                  <a:pt x="5361413" y="8821283"/>
                </a:lnTo>
                <a:lnTo>
                  <a:pt x="5324057" y="9746456"/>
                </a:lnTo>
                <a:lnTo>
                  <a:pt x="5699250" y="9505156"/>
                </a:lnTo>
                <a:lnTo>
                  <a:pt x="6217188" y="9505156"/>
                </a:lnTo>
                <a:lnTo>
                  <a:pt x="6185631" y="9365456"/>
                </a:lnTo>
                <a:lnTo>
                  <a:pt x="5832366" y="9365456"/>
                </a:lnTo>
                <a:lnTo>
                  <a:pt x="5854782" y="8819356"/>
                </a:lnTo>
                <a:close/>
              </a:path>
              <a:path w="13852525" h="11308715">
                <a:moveTo>
                  <a:pt x="3346275" y="8603456"/>
                </a:moveTo>
                <a:lnTo>
                  <a:pt x="3050472" y="8692356"/>
                </a:lnTo>
                <a:lnTo>
                  <a:pt x="2572382" y="9721056"/>
                </a:lnTo>
                <a:lnTo>
                  <a:pt x="2868174" y="9619456"/>
                </a:lnTo>
                <a:lnTo>
                  <a:pt x="3346275" y="8603456"/>
                </a:lnTo>
                <a:close/>
              </a:path>
              <a:path w="13852525" h="11308715">
                <a:moveTo>
                  <a:pt x="11532261" y="9289256"/>
                </a:moveTo>
                <a:lnTo>
                  <a:pt x="10466644" y="9289256"/>
                </a:lnTo>
                <a:lnTo>
                  <a:pt x="10798718" y="9467056"/>
                </a:lnTo>
                <a:lnTo>
                  <a:pt x="9943571" y="9695656"/>
                </a:lnTo>
                <a:lnTo>
                  <a:pt x="11116350" y="9695656"/>
                </a:lnTo>
                <a:lnTo>
                  <a:pt x="10999371" y="9581356"/>
                </a:lnTo>
                <a:lnTo>
                  <a:pt x="11007958" y="9581356"/>
                </a:lnTo>
                <a:lnTo>
                  <a:pt x="11532261" y="9289256"/>
                </a:lnTo>
                <a:close/>
              </a:path>
              <a:path w="13852525" h="11308715">
                <a:moveTo>
                  <a:pt x="4155632" y="8374856"/>
                </a:moveTo>
                <a:lnTo>
                  <a:pt x="3775727" y="8489156"/>
                </a:lnTo>
                <a:lnTo>
                  <a:pt x="3368860" y="9454356"/>
                </a:lnTo>
                <a:lnTo>
                  <a:pt x="3748765" y="9340056"/>
                </a:lnTo>
                <a:lnTo>
                  <a:pt x="4155632" y="8374856"/>
                </a:lnTo>
                <a:close/>
              </a:path>
              <a:path w="13852525" h="11308715">
                <a:moveTo>
                  <a:pt x="11727822" y="8590756"/>
                </a:moveTo>
                <a:lnTo>
                  <a:pt x="6039638" y="8590756"/>
                </a:lnTo>
                <a:lnTo>
                  <a:pt x="6052663" y="9136856"/>
                </a:lnTo>
                <a:lnTo>
                  <a:pt x="5832366" y="9365456"/>
                </a:lnTo>
                <a:lnTo>
                  <a:pt x="6185631" y="9365456"/>
                </a:lnTo>
                <a:lnTo>
                  <a:pt x="6151205" y="9213056"/>
                </a:lnTo>
                <a:lnTo>
                  <a:pt x="6315661" y="9111456"/>
                </a:lnTo>
                <a:lnTo>
                  <a:pt x="10489852" y="9111456"/>
                </a:lnTo>
                <a:lnTo>
                  <a:pt x="10362993" y="8984456"/>
                </a:lnTo>
                <a:lnTo>
                  <a:pt x="10946389" y="8603456"/>
                </a:lnTo>
                <a:lnTo>
                  <a:pt x="11714521" y="8603456"/>
                </a:lnTo>
                <a:lnTo>
                  <a:pt x="11727822" y="8590756"/>
                </a:lnTo>
                <a:close/>
              </a:path>
              <a:path w="13852525" h="11308715">
                <a:moveTo>
                  <a:pt x="13851902" y="8451056"/>
                </a:moveTo>
                <a:lnTo>
                  <a:pt x="12983206" y="9124156"/>
                </a:lnTo>
                <a:lnTo>
                  <a:pt x="13494719" y="9251156"/>
                </a:lnTo>
                <a:lnTo>
                  <a:pt x="13851902" y="8959056"/>
                </a:lnTo>
                <a:lnTo>
                  <a:pt x="13851902" y="8451056"/>
                </a:lnTo>
                <a:close/>
              </a:path>
              <a:path w="13852525" h="11308715">
                <a:moveTo>
                  <a:pt x="4964979" y="8133556"/>
                </a:moveTo>
                <a:lnTo>
                  <a:pt x="4500993" y="8285956"/>
                </a:lnTo>
                <a:lnTo>
                  <a:pt x="4165328" y="9200356"/>
                </a:lnTo>
                <a:lnTo>
                  <a:pt x="4629345" y="9047956"/>
                </a:lnTo>
                <a:lnTo>
                  <a:pt x="4964979" y="8133556"/>
                </a:lnTo>
                <a:close/>
              </a:path>
              <a:path w="13852525" h="11308715">
                <a:moveTo>
                  <a:pt x="11714521" y="8603456"/>
                </a:moveTo>
                <a:lnTo>
                  <a:pt x="10946389" y="8603456"/>
                </a:lnTo>
                <a:lnTo>
                  <a:pt x="11327843" y="8692356"/>
                </a:lnTo>
                <a:lnTo>
                  <a:pt x="10527909" y="9149556"/>
                </a:lnTo>
                <a:lnTo>
                  <a:pt x="11783015" y="9149556"/>
                </a:lnTo>
                <a:lnTo>
                  <a:pt x="12033769" y="9009856"/>
                </a:lnTo>
                <a:lnTo>
                  <a:pt x="11558349" y="8743156"/>
                </a:lnTo>
                <a:lnTo>
                  <a:pt x="11568202" y="8743156"/>
                </a:lnTo>
                <a:lnTo>
                  <a:pt x="11714521" y="8603456"/>
                </a:lnTo>
                <a:close/>
              </a:path>
              <a:path w="13852525" h="11308715">
                <a:moveTo>
                  <a:pt x="12901020" y="7993856"/>
                </a:moveTo>
                <a:lnTo>
                  <a:pt x="11907469" y="8857456"/>
                </a:lnTo>
                <a:lnTo>
                  <a:pt x="12531471" y="8997156"/>
                </a:lnTo>
                <a:lnTo>
                  <a:pt x="13525022" y="8133556"/>
                </a:lnTo>
                <a:lnTo>
                  <a:pt x="12901020" y="7993856"/>
                </a:lnTo>
                <a:close/>
              </a:path>
              <a:path w="13852525" h="11308715">
                <a:moveTo>
                  <a:pt x="5725039" y="8070056"/>
                </a:moveTo>
                <a:lnTo>
                  <a:pt x="5233589" y="8070056"/>
                </a:lnTo>
                <a:lnTo>
                  <a:pt x="5226178" y="8070286"/>
                </a:lnTo>
                <a:lnTo>
                  <a:pt x="4961838" y="8933656"/>
                </a:lnTo>
                <a:lnTo>
                  <a:pt x="5361413" y="8821283"/>
                </a:lnTo>
                <a:lnTo>
                  <a:pt x="5361491" y="8819356"/>
                </a:lnTo>
                <a:lnTo>
                  <a:pt x="5854782" y="8819356"/>
                </a:lnTo>
                <a:lnTo>
                  <a:pt x="5858953" y="8717756"/>
                </a:lnTo>
                <a:lnTo>
                  <a:pt x="5526627" y="8717756"/>
                </a:lnTo>
                <a:lnTo>
                  <a:pt x="5725039" y="8070056"/>
                </a:lnTo>
                <a:close/>
              </a:path>
              <a:path w="13852525" h="11308715">
                <a:moveTo>
                  <a:pt x="5368265" y="8819356"/>
                </a:moveTo>
                <a:lnTo>
                  <a:pt x="5361491" y="8819356"/>
                </a:lnTo>
                <a:lnTo>
                  <a:pt x="5361413" y="8821283"/>
                </a:lnTo>
                <a:lnTo>
                  <a:pt x="5368265" y="8819356"/>
                </a:lnTo>
                <a:close/>
              </a:path>
              <a:path w="13852525" h="11308715">
                <a:moveTo>
                  <a:pt x="11034068" y="8031956"/>
                </a:moveTo>
                <a:lnTo>
                  <a:pt x="5911840" y="8031956"/>
                </a:lnTo>
                <a:lnTo>
                  <a:pt x="5788671" y="8552656"/>
                </a:lnTo>
                <a:lnTo>
                  <a:pt x="5526627" y="8717756"/>
                </a:lnTo>
                <a:lnTo>
                  <a:pt x="5858953" y="8717756"/>
                </a:lnTo>
                <a:lnTo>
                  <a:pt x="5861559" y="8654256"/>
                </a:lnTo>
                <a:lnTo>
                  <a:pt x="6039638" y="8590756"/>
                </a:lnTo>
                <a:lnTo>
                  <a:pt x="11727822" y="8590756"/>
                </a:lnTo>
                <a:lnTo>
                  <a:pt x="11887442" y="8438356"/>
                </a:lnTo>
                <a:lnTo>
                  <a:pt x="10969582" y="8438356"/>
                </a:lnTo>
                <a:lnTo>
                  <a:pt x="10761483" y="8324056"/>
                </a:lnTo>
                <a:lnTo>
                  <a:pt x="11034068" y="8031956"/>
                </a:lnTo>
                <a:close/>
              </a:path>
              <a:path w="13852525" h="11308715">
                <a:moveTo>
                  <a:pt x="11954577" y="7790656"/>
                </a:moveTo>
                <a:lnTo>
                  <a:pt x="11654158" y="7790656"/>
                </a:lnTo>
                <a:lnTo>
                  <a:pt x="10969582" y="8438356"/>
                </a:lnTo>
                <a:lnTo>
                  <a:pt x="11887442" y="8438356"/>
                </a:lnTo>
                <a:lnTo>
                  <a:pt x="12446113" y="7904956"/>
                </a:lnTo>
                <a:lnTo>
                  <a:pt x="11954577" y="7790656"/>
                </a:lnTo>
                <a:close/>
              </a:path>
              <a:path w="13852525" h="11308715">
                <a:moveTo>
                  <a:pt x="979970" y="7396956"/>
                </a:moveTo>
                <a:lnTo>
                  <a:pt x="935060" y="7409656"/>
                </a:lnTo>
                <a:lnTo>
                  <a:pt x="0" y="8349456"/>
                </a:lnTo>
                <a:lnTo>
                  <a:pt x="44899" y="8336756"/>
                </a:lnTo>
                <a:lnTo>
                  <a:pt x="979970" y="7396956"/>
                </a:lnTo>
                <a:close/>
              </a:path>
              <a:path w="13852525" h="11308715">
                <a:moveTo>
                  <a:pt x="1789442" y="7384256"/>
                </a:moveTo>
                <a:lnTo>
                  <a:pt x="1660137" y="7396956"/>
                </a:lnTo>
                <a:lnTo>
                  <a:pt x="804153" y="8298656"/>
                </a:lnTo>
                <a:lnTo>
                  <a:pt x="933427" y="8298656"/>
                </a:lnTo>
                <a:lnTo>
                  <a:pt x="1789442" y="7384256"/>
                </a:lnTo>
                <a:close/>
              </a:path>
              <a:path w="13852525" h="11308715">
                <a:moveTo>
                  <a:pt x="2598884" y="7371556"/>
                </a:moveTo>
                <a:lnTo>
                  <a:pt x="2385225" y="7384256"/>
                </a:lnTo>
                <a:lnTo>
                  <a:pt x="1608296" y="8260556"/>
                </a:lnTo>
                <a:lnTo>
                  <a:pt x="1821944" y="8247856"/>
                </a:lnTo>
                <a:lnTo>
                  <a:pt x="2598884" y="7371556"/>
                </a:lnTo>
                <a:close/>
              </a:path>
              <a:path w="13852525" h="11308715">
                <a:moveTo>
                  <a:pt x="3408325" y="7358856"/>
                </a:moveTo>
                <a:lnTo>
                  <a:pt x="3110324" y="7371556"/>
                </a:lnTo>
                <a:lnTo>
                  <a:pt x="2412450" y="8222456"/>
                </a:lnTo>
                <a:lnTo>
                  <a:pt x="2710472" y="8197056"/>
                </a:lnTo>
                <a:lnTo>
                  <a:pt x="3408325" y="7358856"/>
                </a:lnTo>
                <a:close/>
              </a:path>
              <a:path w="13852525" h="11308715">
                <a:moveTo>
                  <a:pt x="4217798" y="7346156"/>
                </a:moveTo>
                <a:lnTo>
                  <a:pt x="3835401" y="7358856"/>
                </a:lnTo>
                <a:lnTo>
                  <a:pt x="3216593" y="8171656"/>
                </a:lnTo>
                <a:lnTo>
                  <a:pt x="3598979" y="8158956"/>
                </a:lnTo>
                <a:lnTo>
                  <a:pt x="4217798" y="7346156"/>
                </a:lnTo>
                <a:close/>
              </a:path>
              <a:path w="13852525" h="11308715">
                <a:moveTo>
                  <a:pt x="5027260" y="7333456"/>
                </a:moveTo>
                <a:lnTo>
                  <a:pt x="4560478" y="7346156"/>
                </a:lnTo>
                <a:lnTo>
                  <a:pt x="4020736" y="8133556"/>
                </a:lnTo>
                <a:lnTo>
                  <a:pt x="4487507" y="8108156"/>
                </a:lnTo>
                <a:lnTo>
                  <a:pt x="5027260" y="7333456"/>
                </a:lnTo>
                <a:close/>
              </a:path>
              <a:path w="13852525" h="11308715">
                <a:moveTo>
                  <a:pt x="11539800" y="6863556"/>
                </a:moveTo>
                <a:lnTo>
                  <a:pt x="5944960" y="6863556"/>
                </a:lnTo>
                <a:lnTo>
                  <a:pt x="6091165" y="6939756"/>
                </a:lnTo>
                <a:lnTo>
                  <a:pt x="5750913" y="7320756"/>
                </a:lnTo>
                <a:lnTo>
                  <a:pt x="5465456" y="7333456"/>
                </a:lnTo>
                <a:lnTo>
                  <a:pt x="5285566" y="7333456"/>
                </a:lnTo>
                <a:lnTo>
                  <a:pt x="4824879" y="8082756"/>
                </a:lnTo>
                <a:lnTo>
                  <a:pt x="5226178" y="8070286"/>
                </a:lnTo>
                <a:lnTo>
                  <a:pt x="5226249" y="8070056"/>
                </a:lnTo>
                <a:lnTo>
                  <a:pt x="5725039" y="8070056"/>
                </a:lnTo>
                <a:lnTo>
                  <a:pt x="5732820" y="8044656"/>
                </a:lnTo>
                <a:lnTo>
                  <a:pt x="5911840" y="8031956"/>
                </a:lnTo>
                <a:lnTo>
                  <a:pt x="11034068" y="8031956"/>
                </a:lnTo>
                <a:lnTo>
                  <a:pt x="11045920" y="8019256"/>
                </a:lnTo>
                <a:lnTo>
                  <a:pt x="5405133" y="8019256"/>
                </a:lnTo>
                <a:lnTo>
                  <a:pt x="5764379" y="7435056"/>
                </a:lnTo>
                <a:lnTo>
                  <a:pt x="11064475" y="7435056"/>
                </a:lnTo>
                <a:lnTo>
                  <a:pt x="11337424" y="6927056"/>
                </a:lnTo>
                <a:lnTo>
                  <a:pt x="11539800" y="6863556"/>
                </a:lnTo>
                <a:close/>
              </a:path>
              <a:path w="13852525" h="11308715">
                <a:moveTo>
                  <a:pt x="5233589" y="8070056"/>
                </a:moveTo>
                <a:lnTo>
                  <a:pt x="5226249" y="8070056"/>
                </a:lnTo>
                <a:lnTo>
                  <a:pt x="5226178" y="8070286"/>
                </a:lnTo>
                <a:lnTo>
                  <a:pt x="5233589" y="8070056"/>
                </a:lnTo>
                <a:close/>
              </a:path>
              <a:path w="13852525" h="11308715">
                <a:moveTo>
                  <a:pt x="11064475" y="7435056"/>
                </a:moveTo>
                <a:lnTo>
                  <a:pt x="5764379" y="7435056"/>
                </a:lnTo>
                <a:lnTo>
                  <a:pt x="5932290" y="7473156"/>
                </a:lnTo>
                <a:lnTo>
                  <a:pt x="5689010" y="7930356"/>
                </a:lnTo>
                <a:lnTo>
                  <a:pt x="5405133" y="8019256"/>
                </a:lnTo>
                <a:lnTo>
                  <a:pt x="11045920" y="8019256"/>
                </a:lnTo>
                <a:lnTo>
                  <a:pt x="11247395" y="7803356"/>
                </a:lnTo>
                <a:lnTo>
                  <a:pt x="11654158" y="7790656"/>
                </a:lnTo>
                <a:lnTo>
                  <a:pt x="11954577" y="7790656"/>
                </a:lnTo>
                <a:lnTo>
                  <a:pt x="11899962" y="7777956"/>
                </a:lnTo>
                <a:lnTo>
                  <a:pt x="11910475" y="7777956"/>
                </a:lnTo>
                <a:lnTo>
                  <a:pt x="11996729" y="7638256"/>
                </a:lnTo>
                <a:lnTo>
                  <a:pt x="11228548" y="7638256"/>
                </a:lnTo>
                <a:lnTo>
                  <a:pt x="10989414" y="7574756"/>
                </a:lnTo>
                <a:lnTo>
                  <a:pt x="11064475" y="7435056"/>
                </a:lnTo>
                <a:close/>
              </a:path>
              <a:path w="13852525" h="11308715">
                <a:moveTo>
                  <a:pt x="13715058" y="6647656"/>
                </a:moveTo>
                <a:lnTo>
                  <a:pt x="13049916" y="6673056"/>
                </a:lnTo>
                <a:lnTo>
                  <a:pt x="12278526" y="7790656"/>
                </a:lnTo>
                <a:lnTo>
                  <a:pt x="12943658" y="7765256"/>
                </a:lnTo>
                <a:lnTo>
                  <a:pt x="13715058" y="6647656"/>
                </a:lnTo>
                <a:close/>
              </a:path>
              <a:path w="13852525" h="11308715">
                <a:moveTo>
                  <a:pt x="13851902" y="7219156"/>
                </a:moveTo>
                <a:lnTo>
                  <a:pt x="13431926" y="7765256"/>
                </a:lnTo>
                <a:lnTo>
                  <a:pt x="13851902" y="7752556"/>
                </a:lnTo>
                <a:lnTo>
                  <a:pt x="13851902" y="7219156"/>
                </a:lnTo>
                <a:close/>
              </a:path>
              <a:path w="13852525" h="11308715">
                <a:moveTo>
                  <a:pt x="12514256" y="6800056"/>
                </a:moveTo>
                <a:lnTo>
                  <a:pt x="11742176" y="6800056"/>
                </a:lnTo>
                <a:lnTo>
                  <a:pt x="11228548" y="7638256"/>
                </a:lnTo>
                <a:lnTo>
                  <a:pt x="11996729" y="7638256"/>
                </a:lnTo>
                <a:lnTo>
                  <a:pt x="12514256" y="6800056"/>
                </a:lnTo>
                <a:close/>
              </a:path>
              <a:path w="13852525" h="11308715">
                <a:moveTo>
                  <a:pt x="5518683" y="6653162"/>
                </a:moveTo>
                <a:lnTo>
                  <a:pt x="4909473" y="7244556"/>
                </a:lnTo>
                <a:lnTo>
                  <a:pt x="5292969" y="7333456"/>
                </a:lnTo>
                <a:lnTo>
                  <a:pt x="5465456" y="7333456"/>
                </a:lnTo>
                <a:lnTo>
                  <a:pt x="5944960" y="6863556"/>
                </a:lnTo>
                <a:lnTo>
                  <a:pt x="11539800" y="6863556"/>
                </a:lnTo>
                <a:lnTo>
                  <a:pt x="11742176" y="6800056"/>
                </a:lnTo>
                <a:lnTo>
                  <a:pt x="12514256" y="6800056"/>
                </a:lnTo>
                <a:lnTo>
                  <a:pt x="12529939" y="6774656"/>
                </a:lnTo>
                <a:lnTo>
                  <a:pt x="11020240" y="6774656"/>
                </a:lnTo>
                <a:lnTo>
                  <a:pt x="11026344" y="6749256"/>
                </a:lnTo>
                <a:lnTo>
                  <a:pt x="5960991" y="6749256"/>
                </a:lnTo>
                <a:lnTo>
                  <a:pt x="5693135" y="6685756"/>
                </a:lnTo>
                <a:lnTo>
                  <a:pt x="5737997" y="6660356"/>
                </a:lnTo>
                <a:lnTo>
                  <a:pt x="5531297" y="6660356"/>
                </a:lnTo>
                <a:lnTo>
                  <a:pt x="5518683" y="6653162"/>
                </a:lnTo>
                <a:close/>
              </a:path>
              <a:path w="13852525" h="11308715">
                <a:moveTo>
                  <a:pt x="4847957" y="6482556"/>
                </a:moveTo>
                <a:lnTo>
                  <a:pt x="4151925" y="7079456"/>
                </a:lnTo>
                <a:lnTo>
                  <a:pt x="4590069" y="7181056"/>
                </a:lnTo>
                <a:lnTo>
                  <a:pt x="5286111" y="6584156"/>
                </a:lnTo>
                <a:lnTo>
                  <a:pt x="4847957" y="6482556"/>
                </a:lnTo>
                <a:close/>
              </a:path>
              <a:path w="13852525" h="11308715">
                <a:moveTo>
                  <a:pt x="4171558" y="6304756"/>
                </a:moveTo>
                <a:lnTo>
                  <a:pt x="3394367" y="6914356"/>
                </a:lnTo>
                <a:lnTo>
                  <a:pt x="3753519" y="7003256"/>
                </a:lnTo>
                <a:lnTo>
                  <a:pt x="4530731" y="6393656"/>
                </a:lnTo>
                <a:lnTo>
                  <a:pt x="4171558" y="6304756"/>
                </a:lnTo>
                <a:close/>
              </a:path>
              <a:path w="13852525" h="11308715">
                <a:moveTo>
                  <a:pt x="3495139" y="6139656"/>
                </a:moveTo>
                <a:lnTo>
                  <a:pt x="2636809" y="6761956"/>
                </a:lnTo>
                <a:lnTo>
                  <a:pt x="2916968" y="6825456"/>
                </a:lnTo>
                <a:lnTo>
                  <a:pt x="3775330" y="6203156"/>
                </a:lnTo>
                <a:lnTo>
                  <a:pt x="3495139" y="6139656"/>
                </a:lnTo>
                <a:close/>
              </a:path>
              <a:path w="13852525" h="11308715">
                <a:moveTo>
                  <a:pt x="12278779" y="5809456"/>
                </a:moveTo>
                <a:lnTo>
                  <a:pt x="11571134" y="5809456"/>
                </a:lnTo>
                <a:lnTo>
                  <a:pt x="11275332" y="6774656"/>
                </a:lnTo>
                <a:lnTo>
                  <a:pt x="12529939" y="6774656"/>
                </a:lnTo>
                <a:lnTo>
                  <a:pt x="12561304" y="6723856"/>
                </a:lnTo>
                <a:lnTo>
                  <a:pt x="11986744" y="6723856"/>
                </a:lnTo>
                <a:lnTo>
                  <a:pt x="11997286" y="6723626"/>
                </a:lnTo>
                <a:lnTo>
                  <a:pt x="12278779" y="5809456"/>
                </a:lnTo>
                <a:close/>
              </a:path>
              <a:path w="13852525" h="11308715">
                <a:moveTo>
                  <a:pt x="11117907" y="6368256"/>
                </a:moveTo>
                <a:lnTo>
                  <a:pt x="6253903" y="6368256"/>
                </a:lnTo>
                <a:lnTo>
                  <a:pt x="6369868" y="6482556"/>
                </a:lnTo>
                <a:lnTo>
                  <a:pt x="5960991" y="6749256"/>
                </a:lnTo>
                <a:lnTo>
                  <a:pt x="11026344" y="6749256"/>
                </a:lnTo>
                <a:lnTo>
                  <a:pt x="11117907" y="6368256"/>
                </a:lnTo>
                <a:close/>
              </a:path>
              <a:path w="13852525" h="11308715">
                <a:moveTo>
                  <a:pt x="11997286" y="6723626"/>
                </a:moveTo>
                <a:lnTo>
                  <a:pt x="11986744" y="6723856"/>
                </a:lnTo>
                <a:lnTo>
                  <a:pt x="11997215" y="6723856"/>
                </a:lnTo>
                <a:lnTo>
                  <a:pt x="11997286" y="6723626"/>
                </a:lnTo>
                <a:close/>
              </a:path>
              <a:path w="13852525" h="11308715">
                <a:moveTo>
                  <a:pt x="12569146" y="6711156"/>
                </a:moveTo>
                <a:lnTo>
                  <a:pt x="11997286" y="6723626"/>
                </a:lnTo>
                <a:lnTo>
                  <a:pt x="11997215" y="6723856"/>
                </a:lnTo>
                <a:lnTo>
                  <a:pt x="12561304" y="6723856"/>
                </a:lnTo>
                <a:lnTo>
                  <a:pt x="12569146" y="6711156"/>
                </a:lnTo>
                <a:close/>
              </a:path>
              <a:path w="13852525" h="11308715">
                <a:moveTo>
                  <a:pt x="5524355" y="6647656"/>
                </a:moveTo>
                <a:lnTo>
                  <a:pt x="5518683" y="6653162"/>
                </a:lnTo>
                <a:lnTo>
                  <a:pt x="5531297" y="6660356"/>
                </a:lnTo>
                <a:lnTo>
                  <a:pt x="5524355" y="6647656"/>
                </a:lnTo>
                <a:close/>
              </a:path>
              <a:path w="13852525" h="11308715">
                <a:moveTo>
                  <a:pt x="5760427" y="6647656"/>
                </a:moveTo>
                <a:lnTo>
                  <a:pt x="5524355" y="6647656"/>
                </a:lnTo>
                <a:lnTo>
                  <a:pt x="5531297" y="6660356"/>
                </a:lnTo>
                <a:lnTo>
                  <a:pt x="5737997" y="6660356"/>
                </a:lnTo>
                <a:lnTo>
                  <a:pt x="5760427" y="6647656"/>
                </a:lnTo>
                <a:close/>
              </a:path>
              <a:path w="13852525" h="11308715">
                <a:moveTo>
                  <a:pt x="6424317" y="5606831"/>
                </a:moveTo>
                <a:lnTo>
                  <a:pt x="5657293" y="5809456"/>
                </a:lnTo>
                <a:lnTo>
                  <a:pt x="5922374" y="6063456"/>
                </a:lnTo>
                <a:lnTo>
                  <a:pt x="5916343" y="6063456"/>
                </a:lnTo>
                <a:lnTo>
                  <a:pt x="5197244" y="6469856"/>
                </a:lnTo>
                <a:lnTo>
                  <a:pt x="5518683" y="6653162"/>
                </a:lnTo>
                <a:lnTo>
                  <a:pt x="5524355" y="6647656"/>
                </a:lnTo>
                <a:lnTo>
                  <a:pt x="5760427" y="6647656"/>
                </a:lnTo>
                <a:lnTo>
                  <a:pt x="6253903" y="6368256"/>
                </a:lnTo>
                <a:lnTo>
                  <a:pt x="11117907" y="6368256"/>
                </a:lnTo>
                <a:lnTo>
                  <a:pt x="11142323" y="6266656"/>
                </a:lnTo>
                <a:lnTo>
                  <a:pt x="6296677" y="6266656"/>
                </a:lnTo>
                <a:lnTo>
                  <a:pt x="6063354" y="6139656"/>
                </a:lnTo>
                <a:lnTo>
                  <a:pt x="6663200" y="5987256"/>
                </a:lnTo>
                <a:lnTo>
                  <a:pt x="10839816" y="5987256"/>
                </a:lnTo>
                <a:lnTo>
                  <a:pt x="10837873" y="5898356"/>
                </a:lnTo>
                <a:lnTo>
                  <a:pt x="6728318" y="5898356"/>
                </a:lnTo>
                <a:lnTo>
                  <a:pt x="6543162" y="5720556"/>
                </a:lnTo>
                <a:lnTo>
                  <a:pt x="7526064" y="5720556"/>
                </a:lnTo>
                <a:lnTo>
                  <a:pt x="7221518" y="5657056"/>
                </a:lnTo>
                <a:lnTo>
                  <a:pt x="7199043" y="5618956"/>
                </a:lnTo>
                <a:lnTo>
                  <a:pt x="6431280" y="5618956"/>
                </a:lnTo>
                <a:lnTo>
                  <a:pt x="6424317" y="5606831"/>
                </a:lnTo>
                <a:close/>
              </a:path>
              <a:path w="13852525" h="11308715">
                <a:moveTo>
                  <a:pt x="2818762" y="5961856"/>
                </a:moveTo>
                <a:lnTo>
                  <a:pt x="1879251" y="6596856"/>
                </a:lnTo>
                <a:lnTo>
                  <a:pt x="2080439" y="6634956"/>
                </a:lnTo>
                <a:lnTo>
                  <a:pt x="3019960" y="5999956"/>
                </a:lnTo>
                <a:lnTo>
                  <a:pt x="2818762" y="5961856"/>
                </a:lnTo>
                <a:close/>
              </a:path>
              <a:path w="13852525" h="11308715">
                <a:moveTo>
                  <a:pt x="13512185" y="5123656"/>
                </a:moveTo>
                <a:lnTo>
                  <a:pt x="12850645" y="5326856"/>
                </a:lnTo>
                <a:lnTo>
                  <a:pt x="12369675" y="6634956"/>
                </a:lnTo>
                <a:lnTo>
                  <a:pt x="13031205" y="6431756"/>
                </a:lnTo>
                <a:lnTo>
                  <a:pt x="13512185" y="5123656"/>
                </a:lnTo>
                <a:close/>
              </a:path>
              <a:path w="13852525" h="11308715">
                <a:moveTo>
                  <a:pt x="2142343" y="5784056"/>
                </a:moveTo>
                <a:lnTo>
                  <a:pt x="1121683" y="6431756"/>
                </a:lnTo>
                <a:lnTo>
                  <a:pt x="1243888" y="6457156"/>
                </a:lnTo>
                <a:lnTo>
                  <a:pt x="2264569" y="5809456"/>
                </a:lnTo>
                <a:lnTo>
                  <a:pt x="2142343" y="5784056"/>
                </a:lnTo>
                <a:close/>
              </a:path>
              <a:path w="13852525" h="11308715">
                <a:moveTo>
                  <a:pt x="5331094" y="5733256"/>
                </a:moveTo>
                <a:lnTo>
                  <a:pt x="4534301" y="6126956"/>
                </a:lnTo>
                <a:lnTo>
                  <a:pt x="4916153" y="6330156"/>
                </a:lnTo>
                <a:lnTo>
                  <a:pt x="5712935" y="5936456"/>
                </a:lnTo>
                <a:lnTo>
                  <a:pt x="5331094" y="5733256"/>
                </a:lnTo>
                <a:close/>
              </a:path>
              <a:path w="13852525" h="11308715">
                <a:moveTo>
                  <a:pt x="13851902" y="5530056"/>
                </a:moveTo>
                <a:lnTo>
                  <a:pt x="13523546" y="6304756"/>
                </a:lnTo>
                <a:lnTo>
                  <a:pt x="13851902" y="6203156"/>
                </a:lnTo>
                <a:lnTo>
                  <a:pt x="13851902" y="5530056"/>
                </a:lnTo>
                <a:close/>
              </a:path>
              <a:path w="13852525" h="11308715">
                <a:moveTo>
                  <a:pt x="1509179" y="5618956"/>
                </a:moveTo>
                <a:lnTo>
                  <a:pt x="1465955" y="5618956"/>
                </a:lnTo>
                <a:lnTo>
                  <a:pt x="364135" y="6266656"/>
                </a:lnTo>
                <a:lnTo>
                  <a:pt x="407359" y="6266656"/>
                </a:lnTo>
                <a:lnTo>
                  <a:pt x="1509179" y="5618956"/>
                </a:lnTo>
                <a:close/>
              </a:path>
              <a:path w="13852525" h="11308715">
                <a:moveTo>
                  <a:pt x="11840169" y="4882356"/>
                </a:moveTo>
                <a:lnTo>
                  <a:pt x="11137440" y="4882356"/>
                </a:lnTo>
                <a:lnTo>
                  <a:pt x="11093704" y="5898356"/>
                </a:lnTo>
                <a:lnTo>
                  <a:pt x="10839816" y="5987256"/>
                </a:lnTo>
                <a:lnTo>
                  <a:pt x="6663200" y="5987256"/>
                </a:lnTo>
                <a:lnTo>
                  <a:pt x="6742904" y="6126956"/>
                </a:lnTo>
                <a:lnTo>
                  <a:pt x="6296677" y="6266656"/>
                </a:lnTo>
                <a:lnTo>
                  <a:pt x="11142323" y="6266656"/>
                </a:lnTo>
                <a:lnTo>
                  <a:pt x="11197261" y="6038056"/>
                </a:lnTo>
                <a:lnTo>
                  <a:pt x="11571134" y="5809456"/>
                </a:lnTo>
                <a:lnTo>
                  <a:pt x="12278779" y="5809456"/>
                </a:lnTo>
                <a:lnTo>
                  <a:pt x="12321796" y="5669756"/>
                </a:lnTo>
                <a:lnTo>
                  <a:pt x="11797054" y="5669756"/>
                </a:lnTo>
                <a:lnTo>
                  <a:pt x="11806857" y="5666748"/>
                </a:lnTo>
                <a:lnTo>
                  <a:pt x="11840169" y="4882356"/>
                </a:lnTo>
                <a:close/>
              </a:path>
              <a:path w="13852525" h="11308715">
                <a:moveTo>
                  <a:pt x="4745855" y="5390356"/>
                </a:moveTo>
                <a:lnTo>
                  <a:pt x="3871369" y="5784056"/>
                </a:lnTo>
                <a:lnTo>
                  <a:pt x="4184595" y="5949156"/>
                </a:lnTo>
                <a:lnTo>
                  <a:pt x="5059081" y="5568156"/>
                </a:lnTo>
                <a:lnTo>
                  <a:pt x="4745855" y="5390356"/>
                </a:lnTo>
                <a:close/>
              </a:path>
              <a:path w="13852525" h="11308715">
                <a:moveTo>
                  <a:pt x="7526064" y="5720556"/>
                </a:moveTo>
                <a:lnTo>
                  <a:pt x="7139688" y="5720556"/>
                </a:lnTo>
                <a:lnTo>
                  <a:pt x="7179875" y="5872956"/>
                </a:lnTo>
                <a:lnTo>
                  <a:pt x="6728318" y="5898356"/>
                </a:lnTo>
                <a:lnTo>
                  <a:pt x="10837873" y="5898356"/>
                </a:lnTo>
                <a:lnTo>
                  <a:pt x="10834542" y="5745956"/>
                </a:lnTo>
                <a:lnTo>
                  <a:pt x="7647882" y="5745956"/>
                </a:lnTo>
                <a:lnTo>
                  <a:pt x="7526064" y="5720556"/>
                </a:lnTo>
                <a:close/>
              </a:path>
              <a:path w="13852525" h="11308715">
                <a:moveTo>
                  <a:pt x="7709259" y="5441156"/>
                </a:moveTo>
                <a:lnTo>
                  <a:pt x="7094160" y="5441156"/>
                </a:lnTo>
                <a:lnTo>
                  <a:pt x="7647651" y="5593556"/>
                </a:lnTo>
                <a:lnTo>
                  <a:pt x="7647882" y="5745956"/>
                </a:lnTo>
                <a:lnTo>
                  <a:pt x="10834542" y="5745956"/>
                </a:lnTo>
                <a:lnTo>
                  <a:pt x="10831212" y="5593556"/>
                </a:lnTo>
                <a:lnTo>
                  <a:pt x="7807228" y="5593556"/>
                </a:lnTo>
                <a:lnTo>
                  <a:pt x="7739743" y="5555456"/>
                </a:lnTo>
                <a:lnTo>
                  <a:pt x="7709259" y="5441156"/>
                </a:lnTo>
                <a:close/>
              </a:path>
              <a:path w="13852525" h="11308715">
                <a:moveTo>
                  <a:pt x="11806857" y="5666748"/>
                </a:moveTo>
                <a:lnTo>
                  <a:pt x="11797054" y="5669756"/>
                </a:lnTo>
                <a:lnTo>
                  <a:pt x="11806729" y="5669756"/>
                </a:lnTo>
                <a:lnTo>
                  <a:pt x="11806857" y="5666748"/>
                </a:lnTo>
                <a:close/>
              </a:path>
              <a:path w="13852525" h="11308715">
                <a:moveTo>
                  <a:pt x="12376544" y="5491956"/>
                </a:moveTo>
                <a:lnTo>
                  <a:pt x="11806857" y="5666748"/>
                </a:lnTo>
                <a:lnTo>
                  <a:pt x="11806729" y="5669756"/>
                </a:lnTo>
                <a:lnTo>
                  <a:pt x="12321796" y="5669756"/>
                </a:lnTo>
                <a:lnTo>
                  <a:pt x="12376544" y="5491956"/>
                </a:lnTo>
                <a:close/>
              </a:path>
              <a:path w="13852525" h="11308715">
                <a:moveTo>
                  <a:pt x="6426495" y="5606256"/>
                </a:moveTo>
                <a:lnTo>
                  <a:pt x="6424317" y="5606831"/>
                </a:lnTo>
                <a:lnTo>
                  <a:pt x="6431280" y="5618956"/>
                </a:lnTo>
                <a:lnTo>
                  <a:pt x="6426495" y="5606256"/>
                </a:lnTo>
                <a:close/>
              </a:path>
              <a:path w="13852525" h="11308715">
                <a:moveTo>
                  <a:pt x="7191551" y="5606256"/>
                </a:moveTo>
                <a:lnTo>
                  <a:pt x="6426495" y="5606256"/>
                </a:lnTo>
                <a:lnTo>
                  <a:pt x="6431280" y="5618956"/>
                </a:lnTo>
                <a:lnTo>
                  <a:pt x="7199043" y="5618956"/>
                </a:lnTo>
                <a:lnTo>
                  <a:pt x="7191551" y="5606256"/>
                </a:lnTo>
                <a:close/>
              </a:path>
              <a:path w="13852525" h="11308715">
                <a:moveTo>
                  <a:pt x="7013797" y="5301456"/>
                </a:moveTo>
                <a:lnTo>
                  <a:pt x="6248940" y="5301456"/>
                </a:lnTo>
                <a:lnTo>
                  <a:pt x="6424317" y="5606831"/>
                </a:lnTo>
                <a:lnTo>
                  <a:pt x="6426495" y="5606256"/>
                </a:lnTo>
                <a:lnTo>
                  <a:pt x="7191551" y="5606256"/>
                </a:lnTo>
                <a:lnTo>
                  <a:pt x="7094160" y="5441156"/>
                </a:lnTo>
                <a:lnTo>
                  <a:pt x="7709259" y="5441156"/>
                </a:lnTo>
                <a:lnTo>
                  <a:pt x="7675389" y="5314156"/>
                </a:lnTo>
                <a:lnTo>
                  <a:pt x="7017210" y="5314156"/>
                </a:lnTo>
                <a:lnTo>
                  <a:pt x="7013797" y="5301456"/>
                </a:lnTo>
                <a:close/>
              </a:path>
              <a:path w="13852525" h="11308715">
                <a:moveTo>
                  <a:pt x="5966362" y="5149056"/>
                </a:moveTo>
                <a:lnTo>
                  <a:pt x="5127917" y="5314156"/>
                </a:lnTo>
                <a:lnTo>
                  <a:pt x="5431122" y="5606256"/>
                </a:lnTo>
                <a:lnTo>
                  <a:pt x="6269568" y="5441156"/>
                </a:lnTo>
                <a:lnTo>
                  <a:pt x="5966362" y="5149056"/>
                </a:lnTo>
                <a:close/>
              </a:path>
              <a:path w="13852525" h="11308715">
                <a:moveTo>
                  <a:pt x="10824828" y="5301456"/>
                </a:moveTo>
                <a:lnTo>
                  <a:pt x="7013912" y="5301456"/>
                </a:lnTo>
                <a:lnTo>
                  <a:pt x="7017210" y="5314156"/>
                </a:lnTo>
                <a:lnTo>
                  <a:pt x="7675389" y="5314156"/>
                </a:lnTo>
                <a:lnTo>
                  <a:pt x="7851561" y="5428456"/>
                </a:lnTo>
                <a:lnTo>
                  <a:pt x="7807228" y="5593556"/>
                </a:lnTo>
                <a:lnTo>
                  <a:pt x="10831212" y="5593556"/>
                </a:lnTo>
                <a:lnTo>
                  <a:pt x="10824828" y="5301456"/>
                </a:lnTo>
                <a:close/>
              </a:path>
              <a:path w="13852525" h="11308715">
                <a:moveTo>
                  <a:pt x="4160606" y="5060156"/>
                </a:moveTo>
                <a:lnTo>
                  <a:pt x="3208425" y="5428456"/>
                </a:lnTo>
                <a:lnTo>
                  <a:pt x="3453025" y="5568156"/>
                </a:lnTo>
                <a:lnTo>
                  <a:pt x="4405227" y="5187156"/>
                </a:lnTo>
                <a:lnTo>
                  <a:pt x="4160606" y="5060156"/>
                </a:lnTo>
                <a:close/>
              </a:path>
              <a:path w="13852525" h="11308715">
                <a:moveTo>
                  <a:pt x="12906926" y="3688556"/>
                </a:moveTo>
                <a:lnTo>
                  <a:pt x="12296149" y="4056856"/>
                </a:lnTo>
                <a:lnTo>
                  <a:pt x="12157399" y="5479256"/>
                </a:lnTo>
                <a:lnTo>
                  <a:pt x="12768176" y="5098256"/>
                </a:lnTo>
                <a:lnTo>
                  <a:pt x="12906926" y="3688556"/>
                </a:lnTo>
                <a:close/>
              </a:path>
              <a:path w="13852525" h="11308715">
                <a:moveTo>
                  <a:pt x="6925066" y="4971256"/>
                </a:moveTo>
                <a:lnTo>
                  <a:pt x="7017210" y="5314156"/>
                </a:lnTo>
                <a:lnTo>
                  <a:pt x="7013912" y="5301456"/>
                </a:lnTo>
                <a:lnTo>
                  <a:pt x="10824828" y="5301456"/>
                </a:lnTo>
                <a:lnTo>
                  <a:pt x="10823717" y="5250656"/>
                </a:lnTo>
                <a:lnTo>
                  <a:pt x="10448079" y="5250656"/>
                </a:lnTo>
                <a:lnTo>
                  <a:pt x="10425930" y="5174456"/>
                </a:lnTo>
                <a:lnTo>
                  <a:pt x="7634846" y="5174456"/>
                </a:lnTo>
                <a:lnTo>
                  <a:pt x="6925066" y="4971256"/>
                </a:lnTo>
                <a:close/>
              </a:path>
              <a:path w="13852525" h="11308715">
                <a:moveTo>
                  <a:pt x="11205803" y="4082256"/>
                </a:moveTo>
                <a:lnTo>
                  <a:pt x="10455922" y="4082256"/>
                </a:lnTo>
                <a:lnTo>
                  <a:pt x="10682669" y="5098256"/>
                </a:lnTo>
                <a:lnTo>
                  <a:pt x="10448079" y="5250656"/>
                </a:lnTo>
                <a:lnTo>
                  <a:pt x="10823717" y="5250656"/>
                </a:lnTo>
                <a:lnTo>
                  <a:pt x="10822885" y="5212556"/>
                </a:lnTo>
                <a:lnTo>
                  <a:pt x="11137440" y="4882356"/>
                </a:lnTo>
                <a:lnTo>
                  <a:pt x="11840169" y="4882356"/>
                </a:lnTo>
                <a:lnTo>
                  <a:pt x="11848798" y="4679156"/>
                </a:lnTo>
                <a:lnTo>
                  <a:pt x="11327529" y="4679156"/>
                </a:lnTo>
                <a:lnTo>
                  <a:pt x="11335665" y="4666456"/>
                </a:lnTo>
                <a:lnTo>
                  <a:pt x="11205803" y="4082256"/>
                </a:lnTo>
                <a:close/>
              </a:path>
              <a:path w="13852525" h="11308715">
                <a:moveTo>
                  <a:pt x="3575367" y="4729956"/>
                </a:moveTo>
                <a:lnTo>
                  <a:pt x="2545503" y="5085556"/>
                </a:lnTo>
                <a:lnTo>
                  <a:pt x="2721508" y="5174456"/>
                </a:lnTo>
                <a:lnTo>
                  <a:pt x="3751372" y="4818856"/>
                </a:lnTo>
                <a:lnTo>
                  <a:pt x="3575367" y="4729956"/>
                </a:lnTo>
                <a:close/>
              </a:path>
              <a:path w="13852525" h="11308715">
                <a:moveTo>
                  <a:pt x="7635599" y="4831556"/>
                </a:moveTo>
                <a:lnTo>
                  <a:pt x="7636510" y="5174456"/>
                </a:lnTo>
                <a:lnTo>
                  <a:pt x="10425930" y="5174456"/>
                </a:lnTo>
                <a:lnTo>
                  <a:pt x="10381632" y="5022056"/>
                </a:lnTo>
                <a:lnTo>
                  <a:pt x="7958396" y="5022056"/>
                </a:lnTo>
                <a:lnTo>
                  <a:pt x="7635599" y="4831556"/>
                </a:lnTo>
                <a:close/>
              </a:path>
              <a:path w="13852525" h="11308715">
                <a:moveTo>
                  <a:pt x="5880899" y="4704556"/>
                </a:moveTo>
                <a:lnTo>
                  <a:pt x="6089699" y="5047456"/>
                </a:lnTo>
                <a:lnTo>
                  <a:pt x="6911307" y="5098256"/>
                </a:lnTo>
                <a:lnTo>
                  <a:pt x="6702487" y="4742656"/>
                </a:lnTo>
                <a:lnTo>
                  <a:pt x="5880899" y="4704556"/>
                </a:lnTo>
                <a:close/>
              </a:path>
              <a:path w="13852525" h="11308715">
                <a:moveTo>
                  <a:pt x="5506209" y="4679156"/>
                </a:moveTo>
                <a:lnTo>
                  <a:pt x="4598540" y="4818856"/>
                </a:lnTo>
                <a:lnTo>
                  <a:pt x="4847496" y="5060156"/>
                </a:lnTo>
                <a:lnTo>
                  <a:pt x="5755175" y="4920456"/>
                </a:lnTo>
                <a:lnTo>
                  <a:pt x="5506209" y="4679156"/>
                </a:lnTo>
                <a:close/>
              </a:path>
              <a:path w="13852525" h="11308715">
                <a:moveTo>
                  <a:pt x="7623663" y="4145756"/>
                </a:moveTo>
                <a:lnTo>
                  <a:pt x="7625328" y="4539456"/>
                </a:lnTo>
                <a:lnTo>
                  <a:pt x="8015075" y="4806156"/>
                </a:lnTo>
                <a:lnTo>
                  <a:pt x="7958396" y="5022056"/>
                </a:lnTo>
                <a:lnTo>
                  <a:pt x="10381632" y="5022056"/>
                </a:lnTo>
                <a:lnTo>
                  <a:pt x="10267195" y="4628356"/>
                </a:lnTo>
                <a:lnTo>
                  <a:pt x="9859992" y="4628356"/>
                </a:lnTo>
                <a:lnTo>
                  <a:pt x="9760072" y="4463256"/>
                </a:lnTo>
                <a:lnTo>
                  <a:pt x="8084937" y="4463256"/>
                </a:lnTo>
                <a:lnTo>
                  <a:pt x="7623663" y="4145756"/>
                </a:lnTo>
                <a:close/>
              </a:path>
              <a:path w="13852525" h="11308715">
                <a:moveTo>
                  <a:pt x="6733763" y="4310856"/>
                </a:moveTo>
                <a:lnTo>
                  <a:pt x="6839582" y="4691856"/>
                </a:lnTo>
                <a:lnTo>
                  <a:pt x="7590302" y="4945856"/>
                </a:lnTo>
                <a:lnTo>
                  <a:pt x="7484484" y="4564856"/>
                </a:lnTo>
                <a:lnTo>
                  <a:pt x="6733763" y="4310856"/>
                </a:lnTo>
                <a:close/>
              </a:path>
              <a:path w="13852525" h="11308715">
                <a:moveTo>
                  <a:pt x="13851902" y="3078956"/>
                </a:moveTo>
                <a:lnTo>
                  <a:pt x="13451318" y="3332956"/>
                </a:lnTo>
                <a:lnTo>
                  <a:pt x="13229900" y="4844256"/>
                </a:lnTo>
                <a:lnTo>
                  <a:pt x="13729634" y="4526756"/>
                </a:lnTo>
                <a:lnTo>
                  <a:pt x="13851902" y="3688556"/>
                </a:lnTo>
                <a:lnTo>
                  <a:pt x="13851902" y="3078956"/>
                </a:lnTo>
                <a:close/>
              </a:path>
              <a:path w="13852525" h="11308715">
                <a:moveTo>
                  <a:pt x="2990128" y="4387056"/>
                </a:moveTo>
                <a:lnTo>
                  <a:pt x="1882560" y="4742656"/>
                </a:lnTo>
                <a:lnTo>
                  <a:pt x="1989928" y="4793456"/>
                </a:lnTo>
                <a:lnTo>
                  <a:pt x="3097518" y="4437856"/>
                </a:lnTo>
                <a:lnTo>
                  <a:pt x="2990128" y="4387056"/>
                </a:lnTo>
                <a:close/>
              </a:path>
              <a:path w="13852525" h="11308715">
                <a:moveTo>
                  <a:pt x="11862822" y="4348956"/>
                </a:moveTo>
                <a:lnTo>
                  <a:pt x="11327529" y="4679156"/>
                </a:lnTo>
                <a:lnTo>
                  <a:pt x="11848798" y="4679156"/>
                </a:lnTo>
                <a:lnTo>
                  <a:pt x="11862822" y="4348956"/>
                </a:lnTo>
                <a:close/>
              </a:path>
              <a:path w="13852525" h="11308715">
                <a:moveTo>
                  <a:pt x="10419085" y="3472656"/>
                </a:moveTo>
                <a:lnTo>
                  <a:pt x="9559876" y="3472656"/>
                </a:lnTo>
                <a:lnTo>
                  <a:pt x="10057473" y="4412456"/>
                </a:lnTo>
                <a:lnTo>
                  <a:pt x="9859992" y="4628356"/>
                </a:lnTo>
                <a:lnTo>
                  <a:pt x="10267195" y="4628356"/>
                </a:lnTo>
                <a:lnTo>
                  <a:pt x="10226589" y="4488656"/>
                </a:lnTo>
                <a:lnTo>
                  <a:pt x="10455922" y="4082256"/>
                </a:lnTo>
                <a:lnTo>
                  <a:pt x="11205803" y="4082256"/>
                </a:lnTo>
                <a:lnTo>
                  <a:pt x="11149342" y="3828256"/>
                </a:lnTo>
                <a:lnTo>
                  <a:pt x="10594494" y="3828256"/>
                </a:lnTo>
                <a:lnTo>
                  <a:pt x="10600441" y="3815556"/>
                </a:lnTo>
                <a:lnTo>
                  <a:pt x="10419085" y="3472656"/>
                </a:lnTo>
                <a:close/>
              </a:path>
              <a:path w="13852525" h="11308715">
                <a:moveTo>
                  <a:pt x="5046076" y="4209256"/>
                </a:moveTo>
                <a:lnTo>
                  <a:pt x="4069174" y="4323556"/>
                </a:lnTo>
                <a:lnTo>
                  <a:pt x="4263849" y="4501356"/>
                </a:lnTo>
                <a:lnTo>
                  <a:pt x="5240793" y="4399756"/>
                </a:lnTo>
                <a:lnTo>
                  <a:pt x="5046076" y="4209256"/>
                </a:lnTo>
                <a:close/>
              </a:path>
              <a:path w="13852525" h="11308715">
                <a:moveTo>
                  <a:pt x="5512868" y="4094956"/>
                </a:moveTo>
                <a:lnTo>
                  <a:pt x="5684591" y="4387056"/>
                </a:lnTo>
                <a:lnTo>
                  <a:pt x="6562805" y="4475956"/>
                </a:lnTo>
                <a:lnTo>
                  <a:pt x="6391082" y="4196556"/>
                </a:lnTo>
                <a:lnTo>
                  <a:pt x="5512868" y="4094956"/>
                </a:lnTo>
                <a:close/>
              </a:path>
              <a:path w="13852525" h="11308715">
                <a:moveTo>
                  <a:pt x="7611736" y="3472656"/>
                </a:moveTo>
                <a:lnTo>
                  <a:pt x="7613820" y="3790156"/>
                </a:lnTo>
                <a:lnTo>
                  <a:pt x="8154243" y="4209256"/>
                </a:lnTo>
                <a:lnTo>
                  <a:pt x="8084937" y="4463256"/>
                </a:lnTo>
                <a:lnTo>
                  <a:pt x="9760072" y="4463256"/>
                </a:lnTo>
                <a:lnTo>
                  <a:pt x="9583289" y="4171156"/>
                </a:lnTo>
                <a:lnTo>
                  <a:pt x="9105377" y="4171156"/>
                </a:lnTo>
                <a:lnTo>
                  <a:pt x="8844315" y="3929856"/>
                </a:lnTo>
                <a:lnTo>
                  <a:pt x="8225341" y="3929856"/>
                </a:lnTo>
                <a:lnTo>
                  <a:pt x="7611736" y="3472656"/>
                </a:lnTo>
                <a:close/>
              </a:path>
              <a:path w="13852525" h="11308715">
                <a:moveTo>
                  <a:pt x="2404879" y="4056856"/>
                </a:moveTo>
                <a:lnTo>
                  <a:pt x="1219606" y="4387056"/>
                </a:lnTo>
                <a:lnTo>
                  <a:pt x="1258380" y="4412456"/>
                </a:lnTo>
                <a:lnTo>
                  <a:pt x="2443632" y="4069556"/>
                </a:lnTo>
                <a:lnTo>
                  <a:pt x="2404879" y="4056856"/>
                </a:lnTo>
                <a:close/>
              </a:path>
              <a:path w="13852525" h="11308715">
                <a:moveTo>
                  <a:pt x="11917783" y="2418556"/>
                </a:moveTo>
                <a:lnTo>
                  <a:pt x="11404218" y="2964656"/>
                </a:lnTo>
                <a:lnTo>
                  <a:pt x="11638347" y="4387056"/>
                </a:lnTo>
                <a:lnTo>
                  <a:pt x="12151912" y="3853656"/>
                </a:lnTo>
                <a:lnTo>
                  <a:pt x="11917783" y="2418556"/>
                </a:lnTo>
                <a:close/>
              </a:path>
              <a:path w="13852525" h="11308715">
                <a:moveTo>
                  <a:pt x="6542429" y="3637756"/>
                </a:moveTo>
                <a:lnTo>
                  <a:pt x="6629840" y="3955256"/>
                </a:lnTo>
                <a:lnTo>
                  <a:pt x="7421512" y="4272756"/>
                </a:lnTo>
                <a:lnTo>
                  <a:pt x="7334111" y="3955256"/>
                </a:lnTo>
                <a:lnTo>
                  <a:pt x="6542429" y="3637756"/>
                </a:lnTo>
                <a:close/>
              </a:path>
              <a:path w="13852525" h="11308715">
                <a:moveTo>
                  <a:pt x="8675913" y="2151856"/>
                </a:moveTo>
                <a:lnTo>
                  <a:pt x="8439135" y="3053556"/>
                </a:lnTo>
                <a:lnTo>
                  <a:pt x="9249467" y="3917156"/>
                </a:lnTo>
                <a:lnTo>
                  <a:pt x="9105377" y="4171156"/>
                </a:lnTo>
                <a:lnTo>
                  <a:pt x="9583289" y="4171156"/>
                </a:lnTo>
                <a:lnTo>
                  <a:pt x="9437251" y="3929856"/>
                </a:lnTo>
                <a:lnTo>
                  <a:pt x="9559876" y="3472656"/>
                </a:lnTo>
                <a:lnTo>
                  <a:pt x="10419085" y="3472656"/>
                </a:lnTo>
                <a:lnTo>
                  <a:pt x="10271313" y="3193256"/>
                </a:lnTo>
                <a:lnTo>
                  <a:pt x="9633989" y="3193256"/>
                </a:lnTo>
                <a:lnTo>
                  <a:pt x="9637151" y="3180556"/>
                </a:lnTo>
                <a:lnTo>
                  <a:pt x="8675913" y="2151856"/>
                </a:lnTo>
                <a:close/>
              </a:path>
              <a:path w="13852525" h="11308715">
                <a:moveTo>
                  <a:pt x="4585933" y="3739356"/>
                </a:moveTo>
                <a:lnTo>
                  <a:pt x="3539797" y="3828256"/>
                </a:lnTo>
                <a:lnTo>
                  <a:pt x="3680254" y="3955256"/>
                </a:lnTo>
                <a:lnTo>
                  <a:pt x="4726390" y="3879056"/>
                </a:lnTo>
                <a:lnTo>
                  <a:pt x="4585933" y="3739356"/>
                </a:lnTo>
                <a:close/>
              </a:path>
              <a:path w="13852525" h="11308715">
                <a:moveTo>
                  <a:pt x="8349672" y="3472656"/>
                </a:moveTo>
                <a:lnTo>
                  <a:pt x="8225341" y="3929856"/>
                </a:lnTo>
                <a:lnTo>
                  <a:pt x="8844315" y="3929856"/>
                </a:lnTo>
                <a:lnTo>
                  <a:pt x="8349672" y="3472656"/>
                </a:lnTo>
                <a:close/>
              </a:path>
              <a:path w="13852525" h="11308715">
                <a:moveTo>
                  <a:pt x="5144827" y="3485356"/>
                </a:moveTo>
                <a:lnTo>
                  <a:pt x="5279462" y="3713956"/>
                </a:lnTo>
                <a:lnTo>
                  <a:pt x="6214302" y="3853656"/>
                </a:lnTo>
                <a:lnTo>
                  <a:pt x="6079668" y="3637756"/>
                </a:lnTo>
                <a:lnTo>
                  <a:pt x="5144827" y="3485356"/>
                </a:lnTo>
                <a:close/>
              </a:path>
              <a:path w="13852525" h="11308715">
                <a:moveTo>
                  <a:pt x="11044888" y="3358356"/>
                </a:moveTo>
                <a:lnTo>
                  <a:pt x="10594494" y="3828256"/>
                </a:lnTo>
                <a:lnTo>
                  <a:pt x="11149342" y="3828256"/>
                </a:lnTo>
                <a:lnTo>
                  <a:pt x="11044888" y="3358356"/>
                </a:lnTo>
                <a:close/>
              </a:path>
              <a:path w="13852525" h="11308715">
                <a:moveTo>
                  <a:pt x="7599810" y="2786856"/>
                </a:moveTo>
                <a:lnTo>
                  <a:pt x="7602313" y="3040856"/>
                </a:lnTo>
                <a:lnTo>
                  <a:pt x="8282857" y="3612356"/>
                </a:lnTo>
                <a:lnTo>
                  <a:pt x="8280355" y="3358356"/>
                </a:lnTo>
                <a:lnTo>
                  <a:pt x="7599810" y="2786856"/>
                </a:lnTo>
                <a:close/>
              </a:path>
              <a:path w="13852525" h="11308715">
                <a:moveTo>
                  <a:pt x="6351115" y="2977356"/>
                </a:moveTo>
                <a:lnTo>
                  <a:pt x="6420118" y="3218656"/>
                </a:lnTo>
                <a:lnTo>
                  <a:pt x="7252732" y="3599656"/>
                </a:lnTo>
                <a:lnTo>
                  <a:pt x="7183739" y="3345656"/>
                </a:lnTo>
                <a:lnTo>
                  <a:pt x="6351115" y="2977356"/>
                </a:lnTo>
                <a:close/>
              </a:path>
              <a:path w="13852525" h="11308715">
                <a:moveTo>
                  <a:pt x="12790678" y="1491456"/>
                </a:moveTo>
                <a:lnTo>
                  <a:pt x="12370890" y="1923256"/>
                </a:lnTo>
                <a:lnTo>
                  <a:pt x="12548382" y="3472656"/>
                </a:lnTo>
                <a:lnTo>
                  <a:pt x="12968181" y="3040856"/>
                </a:lnTo>
                <a:lnTo>
                  <a:pt x="12790678" y="1491456"/>
                </a:lnTo>
                <a:close/>
              </a:path>
              <a:path w="13852525" h="11308715">
                <a:moveTo>
                  <a:pt x="10591646" y="1453356"/>
                </a:moveTo>
                <a:lnTo>
                  <a:pt x="10217657" y="2113756"/>
                </a:lnTo>
                <a:lnTo>
                  <a:pt x="10830727" y="3459956"/>
                </a:lnTo>
                <a:lnTo>
                  <a:pt x="11204716" y="2799556"/>
                </a:lnTo>
                <a:lnTo>
                  <a:pt x="10591646" y="1453356"/>
                </a:lnTo>
                <a:close/>
              </a:path>
              <a:path w="13852525" h="11308715">
                <a:moveTo>
                  <a:pt x="4125801" y="3282156"/>
                </a:moveTo>
                <a:lnTo>
                  <a:pt x="3010421" y="3332956"/>
                </a:lnTo>
                <a:lnTo>
                  <a:pt x="3096628" y="3409156"/>
                </a:lnTo>
                <a:lnTo>
                  <a:pt x="4212018" y="3358356"/>
                </a:lnTo>
                <a:lnTo>
                  <a:pt x="4125801" y="3282156"/>
                </a:lnTo>
                <a:close/>
              </a:path>
              <a:path w="13852525" h="11308715">
                <a:moveTo>
                  <a:pt x="4776796" y="2888456"/>
                </a:moveTo>
                <a:lnTo>
                  <a:pt x="4874343" y="3040856"/>
                </a:lnTo>
                <a:lnTo>
                  <a:pt x="5865810" y="3231356"/>
                </a:lnTo>
                <a:lnTo>
                  <a:pt x="5768264" y="3078956"/>
                </a:lnTo>
                <a:lnTo>
                  <a:pt x="4776796" y="2888456"/>
                </a:lnTo>
                <a:close/>
              </a:path>
              <a:path w="13852525" h="11308715">
                <a:moveTo>
                  <a:pt x="9962335" y="2609056"/>
                </a:moveTo>
                <a:lnTo>
                  <a:pt x="9633989" y="3193256"/>
                </a:lnTo>
                <a:lnTo>
                  <a:pt x="10271313" y="3193256"/>
                </a:lnTo>
                <a:lnTo>
                  <a:pt x="9962335" y="2609056"/>
                </a:lnTo>
                <a:close/>
              </a:path>
              <a:path w="13852525" h="11308715">
                <a:moveTo>
                  <a:pt x="7587884" y="2113756"/>
                </a:moveTo>
                <a:lnTo>
                  <a:pt x="7590805" y="2291556"/>
                </a:lnTo>
                <a:lnTo>
                  <a:pt x="8294784" y="2926556"/>
                </a:lnTo>
                <a:lnTo>
                  <a:pt x="8291862" y="2736056"/>
                </a:lnTo>
                <a:lnTo>
                  <a:pt x="7587884" y="2113756"/>
                </a:lnTo>
                <a:close/>
              </a:path>
              <a:path w="13852525" h="11308715">
                <a:moveTo>
                  <a:pt x="6159801" y="2304256"/>
                </a:moveTo>
                <a:lnTo>
                  <a:pt x="6210376" y="2482056"/>
                </a:lnTo>
                <a:lnTo>
                  <a:pt x="7083951" y="2913856"/>
                </a:lnTo>
                <a:lnTo>
                  <a:pt x="7033366" y="2736056"/>
                </a:lnTo>
                <a:lnTo>
                  <a:pt x="6159801" y="2304256"/>
                </a:lnTo>
                <a:close/>
              </a:path>
              <a:path w="13852525" h="11308715">
                <a:moveTo>
                  <a:pt x="3665658" y="2812256"/>
                </a:moveTo>
                <a:lnTo>
                  <a:pt x="2481055" y="2837656"/>
                </a:lnTo>
                <a:lnTo>
                  <a:pt x="2512981" y="2863056"/>
                </a:lnTo>
                <a:lnTo>
                  <a:pt x="3697615" y="2837656"/>
                </a:lnTo>
                <a:lnTo>
                  <a:pt x="3665658" y="2812256"/>
                </a:lnTo>
                <a:close/>
              </a:path>
              <a:path w="13852525" h="11308715">
                <a:moveTo>
                  <a:pt x="9002134" y="843756"/>
                </a:moveTo>
                <a:lnTo>
                  <a:pt x="8802779" y="1605756"/>
                </a:lnTo>
                <a:lnTo>
                  <a:pt x="9774309" y="2761456"/>
                </a:lnTo>
                <a:lnTo>
                  <a:pt x="9973675" y="2012156"/>
                </a:lnTo>
                <a:lnTo>
                  <a:pt x="9002134" y="843756"/>
                </a:lnTo>
                <a:close/>
              </a:path>
              <a:path w="13852525" h="11308715">
                <a:moveTo>
                  <a:pt x="4408755" y="2278856"/>
                </a:moveTo>
                <a:lnTo>
                  <a:pt x="4469235" y="2380456"/>
                </a:lnTo>
                <a:lnTo>
                  <a:pt x="5517318" y="2609056"/>
                </a:lnTo>
                <a:lnTo>
                  <a:pt x="5456849" y="2520156"/>
                </a:lnTo>
                <a:lnTo>
                  <a:pt x="4408755" y="2278856"/>
                </a:lnTo>
                <a:close/>
              </a:path>
              <a:path w="13852525" h="11308715">
                <a:moveTo>
                  <a:pt x="11220946" y="284956"/>
                </a:moveTo>
                <a:lnTo>
                  <a:pt x="10915740" y="843756"/>
                </a:lnTo>
                <a:lnTo>
                  <a:pt x="11503785" y="2316956"/>
                </a:lnTo>
                <a:lnTo>
                  <a:pt x="11808991" y="1770856"/>
                </a:lnTo>
                <a:lnTo>
                  <a:pt x="11220946" y="284956"/>
                </a:lnTo>
                <a:close/>
              </a:path>
              <a:path w="13852525" h="11308715">
                <a:moveTo>
                  <a:pt x="5968477" y="1643856"/>
                </a:moveTo>
                <a:lnTo>
                  <a:pt x="6000644" y="1745456"/>
                </a:lnTo>
                <a:lnTo>
                  <a:pt x="6915171" y="2240756"/>
                </a:lnTo>
                <a:lnTo>
                  <a:pt x="6883015" y="2126456"/>
                </a:lnTo>
                <a:lnTo>
                  <a:pt x="5968477" y="1643856"/>
                </a:lnTo>
                <a:close/>
              </a:path>
              <a:path w="13852525" h="11308715">
                <a:moveTo>
                  <a:pt x="7575968" y="1427956"/>
                </a:moveTo>
                <a:lnTo>
                  <a:pt x="7579298" y="1542256"/>
                </a:lnTo>
                <a:lnTo>
                  <a:pt x="8306699" y="2240756"/>
                </a:lnTo>
                <a:lnTo>
                  <a:pt x="8303370" y="2126456"/>
                </a:lnTo>
                <a:lnTo>
                  <a:pt x="7575968" y="1427956"/>
                </a:lnTo>
                <a:close/>
              </a:path>
              <a:path w="13852525" h="11308715">
                <a:moveTo>
                  <a:pt x="4040735" y="1669256"/>
                </a:moveTo>
                <a:lnTo>
                  <a:pt x="4064096" y="1707356"/>
                </a:lnTo>
                <a:lnTo>
                  <a:pt x="5168826" y="1986756"/>
                </a:lnTo>
                <a:lnTo>
                  <a:pt x="5145445" y="1961356"/>
                </a:lnTo>
                <a:lnTo>
                  <a:pt x="4040735" y="1669256"/>
                </a:lnTo>
                <a:close/>
              </a:path>
              <a:path w="13852525" h="11308715">
                <a:moveTo>
                  <a:pt x="5777164" y="970756"/>
                </a:moveTo>
                <a:lnTo>
                  <a:pt x="5790923" y="1008856"/>
                </a:lnTo>
                <a:lnTo>
                  <a:pt x="6746391" y="1554956"/>
                </a:lnTo>
                <a:lnTo>
                  <a:pt x="6732643" y="1529556"/>
                </a:lnTo>
                <a:lnTo>
                  <a:pt x="5777164" y="970756"/>
                </a:lnTo>
                <a:close/>
              </a:path>
              <a:path w="13852525" h="11308715">
                <a:moveTo>
                  <a:pt x="7564041" y="754856"/>
                </a:moveTo>
                <a:lnTo>
                  <a:pt x="7567790" y="792956"/>
                </a:lnTo>
                <a:lnTo>
                  <a:pt x="8318636" y="1554956"/>
                </a:lnTo>
                <a:lnTo>
                  <a:pt x="8314888" y="1516856"/>
                </a:lnTo>
                <a:lnTo>
                  <a:pt x="7564041" y="754856"/>
                </a:lnTo>
                <a:close/>
              </a:path>
              <a:path w="13852525" h="11308715">
                <a:moveTo>
                  <a:pt x="9684684" y="5556"/>
                </a:moveTo>
                <a:lnTo>
                  <a:pt x="9205378" y="5556"/>
                </a:lnTo>
                <a:lnTo>
                  <a:pt x="9166401" y="157956"/>
                </a:lnTo>
                <a:lnTo>
                  <a:pt x="10148214" y="1453356"/>
                </a:lnTo>
                <a:lnTo>
                  <a:pt x="10310167" y="831056"/>
                </a:lnTo>
                <a:lnTo>
                  <a:pt x="9684684" y="5556"/>
                </a:lnTo>
                <a:close/>
              </a:path>
              <a:path w="13852525" h="11308715">
                <a:moveTo>
                  <a:pt x="12155392" y="5556"/>
                </a:moveTo>
                <a:lnTo>
                  <a:pt x="11769899" y="5556"/>
                </a:lnTo>
                <a:lnTo>
                  <a:pt x="12176843" y="1173956"/>
                </a:lnTo>
                <a:lnTo>
                  <a:pt x="12413266" y="742156"/>
                </a:lnTo>
                <a:lnTo>
                  <a:pt x="12155392" y="5556"/>
                </a:lnTo>
                <a:close/>
              </a:path>
              <a:path w="13852525" h="11308715">
                <a:moveTo>
                  <a:pt x="10558529" y="5556"/>
                </a:moveTo>
                <a:lnTo>
                  <a:pt x="10424416" y="5556"/>
                </a:lnTo>
                <a:lnTo>
                  <a:pt x="10522108" y="145256"/>
                </a:lnTo>
                <a:lnTo>
                  <a:pt x="10558529" y="5556"/>
                </a:lnTo>
                <a:close/>
              </a:path>
            </a:pathLst>
          </a:custGeom>
          <a:solidFill>
            <a:srgbClr val="1A0F5C">
              <a:alpha val="5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FDD0999-C447-FB95-885F-11AEB8E057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908" y="1714110"/>
            <a:ext cx="1840546" cy="610478"/>
          </a:xfrm>
          <a:prstGeom prst="rect">
            <a:avLst/>
          </a:prstGeom>
        </p:spPr>
      </p:pic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37563585-6D28-5DE1-5461-82B8C7026E9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411629" y="5850238"/>
            <a:ext cx="2396464" cy="63286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AAAA181-FFA2-C45B-0E73-89E90F538EBA}"/>
              </a:ext>
            </a:extLst>
          </p:cNvPr>
          <p:cNvSpPr txBox="1"/>
          <p:nvPr userDrawn="1"/>
        </p:nvSpPr>
        <p:spPr>
          <a:xfrm>
            <a:off x="383907" y="6267664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mangroup.com</a:t>
            </a:r>
            <a:endParaRPr lang="en-GB" sz="800" spc="55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8543F607-2559-4554-9D61-2F743E6BFF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3908" y="4082988"/>
            <a:ext cx="3519877" cy="3385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0D893C00-7A9C-40F4-B4D3-21327CEC5F77}" type="datetime3">
              <a:rPr lang="en-US" smtClean="0"/>
              <a:t>23 September 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673808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Full Wid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0C0A51-525B-B866-2342-C7CBBC887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749425"/>
            <a:ext cx="11430000" cy="44100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8B2FC8A-417E-1F89-D7CA-F4F5D2552B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ACF05-52EB-BCC1-FEFA-A3B7609A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583460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Full Wid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0C0A51-525B-B866-2342-C7CBBC887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749425"/>
            <a:ext cx="11430000" cy="44100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8B2FC8A-417E-1F89-D7CA-F4F5D2552B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5F1CBE-C749-BAE8-58C3-8907FE86D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0357895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ull Wid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0C0A51-525B-B866-2342-C7CBBC887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749425"/>
            <a:ext cx="11430000" cy="44100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8B2FC8A-417E-1F89-D7CA-F4F5D2552B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1D9B11-C747-5E07-B1CE-ED5C2A765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8972129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Full Wid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0C0A51-525B-B866-2342-C7CBBC887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749425"/>
            <a:ext cx="11430000" cy="441007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8B2FC8A-417E-1F89-D7CA-F4F5D2552B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9DCD3-7782-2E0F-4D86-1B85B2980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6386386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Full Wid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0C0A51-525B-B866-2342-C7CBBC887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749425"/>
            <a:ext cx="11430000" cy="4410075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8B2FC8A-417E-1F89-D7CA-F4F5D2552B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DEEC17-B41C-86B7-7B3C-2C2804DE7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3175940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89DB572-1BEA-F6CE-5AA8-E2980CD41F2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97DD4FF-7BBA-F189-9117-A86040E7B1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4632" y="1749425"/>
            <a:ext cx="5626368" cy="441007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F75CB3-3B29-7D02-83C1-CA93F03D3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CC67DF-D3E9-F120-66D8-83C3BD61EE0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3908" y="1749425"/>
            <a:ext cx="5626368" cy="441007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4766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89DB572-1BEA-F6CE-5AA8-E2980CD41F2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38A748E-34A1-4E46-B7C8-B3C068148C2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1000" y="1749425"/>
            <a:ext cx="11430000" cy="457200"/>
          </a:xfrm>
          <a:custGeom>
            <a:avLst/>
            <a:gdLst>
              <a:gd name="connsiteX0" fmla="*/ 114300 w 11430000"/>
              <a:gd name="connsiteY0" fmla="*/ 0 h 457200"/>
              <a:gd name="connsiteX1" fmla="*/ 11430000 w 11430000"/>
              <a:gd name="connsiteY1" fmla="*/ 0 h 457200"/>
              <a:gd name="connsiteX2" fmla="*/ 11315700 w 11430000"/>
              <a:gd name="connsiteY2" fmla="*/ 457200 h 457200"/>
              <a:gd name="connsiteX3" fmla="*/ 0 w 11430000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57200">
                <a:moveTo>
                  <a:pt x="114300" y="0"/>
                </a:moveTo>
                <a:lnTo>
                  <a:pt x="11430000" y="0"/>
                </a:lnTo>
                <a:lnTo>
                  <a:pt x="11315700" y="4572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C5B72B-3232-8BD1-A8F9-6A31A5F194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AA837C17-AB25-405F-9D1A-88B85BADF0C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81000" y="2305879"/>
            <a:ext cx="11430000" cy="385362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 baseline="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7305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art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89DB572-1BEA-F6CE-5AA8-E2980CD41F2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01FA3BE7-440C-4567-9737-E766215F790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1000" y="1749425"/>
            <a:ext cx="11430000" cy="457200"/>
          </a:xfrm>
          <a:custGeom>
            <a:avLst/>
            <a:gdLst>
              <a:gd name="connsiteX0" fmla="*/ 114300 w 11430000"/>
              <a:gd name="connsiteY0" fmla="*/ 0 h 457200"/>
              <a:gd name="connsiteX1" fmla="*/ 11430000 w 11430000"/>
              <a:gd name="connsiteY1" fmla="*/ 0 h 457200"/>
              <a:gd name="connsiteX2" fmla="*/ 11315700 w 11430000"/>
              <a:gd name="connsiteY2" fmla="*/ 457200 h 457200"/>
              <a:gd name="connsiteX3" fmla="*/ 0 w 11430000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57200">
                <a:moveTo>
                  <a:pt x="114300" y="0"/>
                </a:moveTo>
                <a:lnTo>
                  <a:pt x="11430000" y="0"/>
                </a:lnTo>
                <a:lnTo>
                  <a:pt x="11315700" y="4572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2D29DC9E-0F32-4CC5-8A57-6F047FD124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000" y="2402155"/>
            <a:ext cx="482400" cy="482600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B116856-F0BC-4944-B5E5-80DAC5BCAD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" y="2414855"/>
            <a:ext cx="2943754" cy="457200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7D99B4F2-3364-424A-8BD7-EEE0BE410B15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338372" y="2402155"/>
            <a:ext cx="482400" cy="482600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  <a:endParaRPr lang="en-GB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3EF1D9E-C3FA-40B4-BE61-216DACCD3DE3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909872" y="2414855"/>
            <a:ext cx="2943754" cy="457200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6CD580D2-ACCF-451D-AABB-8DF1E53D3B73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8295746" y="2402155"/>
            <a:ext cx="482400" cy="482600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  <a:endParaRPr lang="en-GB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C072118-4B94-45EC-AA92-8B824DFF3B6E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8867246" y="2414855"/>
            <a:ext cx="2943754" cy="457200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8B05212D-AC3C-4B83-8E54-95BFED51015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81000" y="4482204"/>
            <a:ext cx="11430000" cy="457200"/>
          </a:xfrm>
          <a:custGeom>
            <a:avLst/>
            <a:gdLst>
              <a:gd name="connsiteX0" fmla="*/ 114300 w 11430000"/>
              <a:gd name="connsiteY0" fmla="*/ 0 h 457200"/>
              <a:gd name="connsiteX1" fmla="*/ 11430000 w 11430000"/>
              <a:gd name="connsiteY1" fmla="*/ 0 h 457200"/>
              <a:gd name="connsiteX2" fmla="*/ 11315700 w 11430000"/>
              <a:gd name="connsiteY2" fmla="*/ 457200 h 457200"/>
              <a:gd name="connsiteX3" fmla="*/ 0 w 11430000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57200">
                <a:moveTo>
                  <a:pt x="114300" y="0"/>
                </a:moveTo>
                <a:lnTo>
                  <a:pt x="11430000" y="0"/>
                </a:lnTo>
                <a:lnTo>
                  <a:pt x="11315700" y="4572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04537093-CB2A-43BF-B751-47818D589D4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11956" y="5316638"/>
            <a:ext cx="3484298" cy="838581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bg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6" name="Text Placeholder 33">
            <a:extLst>
              <a:ext uri="{FF2B5EF4-FFF2-40B4-BE49-F238E27FC236}">
                <a16:creationId xmlns:a16="http://schemas.microsoft.com/office/drawing/2014/main" id="{3C16867A-C60E-43B4-B09F-F311F28C58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1000" y="5075338"/>
            <a:ext cx="482400" cy="482600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  <a:endParaRPr lang="en-GB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BEFEFEF0-23A5-4EE1-BC9C-F15C3234DCF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69328" y="5316638"/>
            <a:ext cx="3484298" cy="838581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bg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2" name="Text Placeholder 33">
            <a:extLst>
              <a:ext uri="{FF2B5EF4-FFF2-40B4-BE49-F238E27FC236}">
                <a16:creationId xmlns:a16="http://schemas.microsoft.com/office/drawing/2014/main" id="{DAB87D3B-8786-44FE-8911-3CC5038032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38372" y="5075338"/>
            <a:ext cx="482400" cy="482600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  <a:endParaRPr lang="en-GB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2CBD6C4B-7454-4CAA-94A2-346564DBAD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326700" y="5316638"/>
            <a:ext cx="3484298" cy="838581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bg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95F6ACA5-F54D-4926-B176-77EB495C3C9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95744" y="5075338"/>
            <a:ext cx="482400" cy="482600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#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786C44-7D06-8B20-4C66-3CD8542D4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BB48EF12-FABA-4764-BFE6-5D5C961B2D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5400000" flipH="1">
            <a:off x="3834606" y="3562070"/>
            <a:ext cx="565416" cy="146344"/>
          </a:xfrm>
          <a:prstGeom prst="triangle">
            <a:avLst/>
          </a:prstGeom>
          <a:solidFill>
            <a:srgbClr val="FFDFEA"/>
          </a:solidFill>
        </p:spPr>
        <p:txBody>
          <a:bodyPr anchor="ctr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1" name="Text Placeholder 33">
            <a:extLst>
              <a:ext uri="{FF2B5EF4-FFF2-40B4-BE49-F238E27FC236}">
                <a16:creationId xmlns:a16="http://schemas.microsoft.com/office/drawing/2014/main" id="{29DA67F7-9E06-49BD-A8F7-907C889C510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 rot="5400000" flipH="1">
            <a:off x="7791978" y="3562070"/>
            <a:ext cx="565416" cy="146344"/>
          </a:xfrm>
          <a:prstGeom prst="triangle">
            <a:avLst/>
          </a:prstGeom>
          <a:solidFill>
            <a:srgbClr val="FFDFEA"/>
          </a:solidFill>
        </p:spPr>
        <p:txBody>
          <a:bodyPr anchor="ctr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68446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cont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C784EB7-0D22-4F5B-5100-1CBED4089E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0C0A51-525B-B866-2342-C7CBBC887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749425"/>
            <a:ext cx="3429809" cy="441007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A8D3A63-E32D-AC27-6C75-32269B5E6D88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957819" y="1749425"/>
            <a:ext cx="7853181" cy="4410075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B3D49C-A884-FC35-712A-3A7F137AB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548743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art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21D9686-D61C-E3FA-D9D1-21E3EC958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770FB51-6B1D-43B0-AAAF-B8BCEABF36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00" y="1749425"/>
            <a:ext cx="2880000" cy="504000"/>
          </a:xfrm>
          <a:prstGeom prst="chevron">
            <a:avLst>
              <a:gd name="adj" fmla="val 26962"/>
            </a:avLst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i="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2DA3F1F-56DE-4787-86A2-2B94AD7C77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31000" y="1749425"/>
            <a:ext cx="2880000" cy="504000"/>
          </a:xfrm>
          <a:prstGeom prst="chevron">
            <a:avLst>
              <a:gd name="adj" fmla="val 26962"/>
            </a:avLst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i="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271F74A-8499-4B2F-8285-329F39903DF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81000" y="1749425"/>
            <a:ext cx="2880000" cy="504000"/>
          </a:xfrm>
          <a:prstGeom prst="chevron">
            <a:avLst>
              <a:gd name="adj" fmla="val 26962"/>
            </a:avLst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i="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0E2F756F-AF03-4556-9289-CDB256A9295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31000" y="1749425"/>
            <a:ext cx="2880000" cy="504000"/>
          </a:xfrm>
          <a:prstGeom prst="chevron">
            <a:avLst>
              <a:gd name="adj" fmla="val 26962"/>
            </a:avLst>
          </a:prstGeom>
          <a:solidFill>
            <a:schemeClr val="accent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i="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0447A8-4907-468D-99F0-24075958AA7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1000" y="2417977"/>
            <a:ext cx="2740293" cy="3741523"/>
          </a:xfrm>
        </p:spPr>
        <p:txBody>
          <a:bodyPr>
            <a:noAutofit/>
          </a:bodyPr>
          <a:lstStyle>
            <a:lvl1pPr marL="228600">
              <a:defRPr sz="1200" baseline="0"/>
            </a:lvl1pPr>
            <a:lvl2pPr marL="457200">
              <a:defRPr sz="1200" baseline="0"/>
            </a:lvl2pPr>
            <a:lvl3pPr marL="685800">
              <a:defRPr sz="1200" baseline="0"/>
            </a:lvl3pPr>
            <a:lvl4pPr marL="914400">
              <a:defRPr sz="1200" baseline="0"/>
            </a:lvl4pPr>
            <a:lvl5pPr marL="1143000"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4FD5B61-4970-4EDF-A8D3-1142E965C9A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31000" y="2417977"/>
            <a:ext cx="2740293" cy="3741523"/>
          </a:xfrm>
        </p:spPr>
        <p:txBody>
          <a:bodyPr>
            <a:noAutofit/>
          </a:bodyPr>
          <a:lstStyle>
            <a:lvl1pPr marL="228600">
              <a:defRPr sz="1200" baseline="0"/>
            </a:lvl1pPr>
            <a:lvl2pPr marL="457200">
              <a:defRPr sz="1200" baseline="0"/>
            </a:lvl2pPr>
            <a:lvl3pPr marL="685800">
              <a:defRPr sz="1200" baseline="0"/>
            </a:lvl3pPr>
            <a:lvl4pPr marL="914400">
              <a:defRPr sz="1200" baseline="0"/>
            </a:lvl4pPr>
            <a:lvl5pPr marL="1143000"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73517E32-367A-4F58-B9B2-4BBA9810B22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81000" y="2417977"/>
            <a:ext cx="2740293" cy="3741523"/>
          </a:xfrm>
        </p:spPr>
        <p:txBody>
          <a:bodyPr>
            <a:noAutofit/>
          </a:bodyPr>
          <a:lstStyle>
            <a:lvl1pPr marL="228600">
              <a:defRPr sz="1200" baseline="0"/>
            </a:lvl1pPr>
            <a:lvl2pPr marL="457200">
              <a:defRPr sz="1200" baseline="0"/>
            </a:lvl2pPr>
            <a:lvl3pPr marL="685800">
              <a:defRPr sz="1200" baseline="0"/>
            </a:lvl3pPr>
            <a:lvl4pPr marL="914400">
              <a:defRPr sz="1200" baseline="0"/>
            </a:lvl4pPr>
            <a:lvl5pPr marL="1143000"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27CFCDD1-7300-49D4-B6A4-17076059AC6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31000" y="2417977"/>
            <a:ext cx="2740293" cy="3741523"/>
          </a:xfrm>
        </p:spPr>
        <p:txBody>
          <a:bodyPr>
            <a:noAutofit/>
          </a:bodyPr>
          <a:lstStyle>
            <a:lvl1pPr marL="228600">
              <a:defRPr sz="1200" baseline="0"/>
            </a:lvl1pPr>
            <a:lvl2pPr marL="457200">
              <a:defRPr sz="1200" baseline="0"/>
            </a:lvl2pPr>
            <a:lvl3pPr marL="685800">
              <a:defRPr sz="1200" baseline="0"/>
            </a:lvl3pPr>
            <a:lvl4pPr marL="914400">
              <a:defRPr sz="1200" baseline="0"/>
            </a:lvl4pPr>
            <a:lvl5pPr marL="1143000"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A2933A-2DB0-ED61-A572-3A59CD197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583713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_7">
    <p:bg>
      <p:bgPr>
        <a:gradFill>
          <a:gsLst>
            <a:gs pos="0">
              <a:schemeClr val="accent4"/>
            </a:gs>
            <a:gs pos="100000">
              <a:schemeClr val="accent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14E23-4D5A-C225-A302-6C9C57B22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643127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bg object 17">
            <a:extLst>
              <a:ext uri="{FF2B5EF4-FFF2-40B4-BE49-F238E27FC236}">
                <a16:creationId xmlns:a16="http://schemas.microsoft.com/office/drawing/2014/main" id="{5AE8EB3F-06DA-9660-72EB-9FC6330A4F34}"/>
              </a:ext>
            </a:extLst>
          </p:cNvPr>
          <p:cNvSpPr/>
          <p:nvPr userDrawn="1"/>
        </p:nvSpPr>
        <p:spPr>
          <a:xfrm>
            <a:off x="3791345" y="1"/>
            <a:ext cx="8400655" cy="6858000"/>
          </a:xfrm>
          <a:custGeom>
            <a:avLst/>
            <a:gdLst/>
            <a:ahLst/>
            <a:cxnLst/>
            <a:rect l="l" t="t" r="r" b="b"/>
            <a:pathLst>
              <a:path w="13852525" h="11308715">
                <a:moveTo>
                  <a:pt x="13663594" y="541274"/>
                </a:moveTo>
                <a:lnTo>
                  <a:pt x="13337552" y="886374"/>
                </a:lnTo>
                <a:lnTo>
                  <a:pt x="13458406" y="2559160"/>
                </a:lnTo>
                <a:lnTo>
                  <a:pt x="13784438" y="2214071"/>
                </a:lnTo>
                <a:lnTo>
                  <a:pt x="13663594" y="541274"/>
                </a:lnTo>
                <a:close/>
              </a:path>
              <a:path w="13852525" h="11308715">
                <a:moveTo>
                  <a:pt x="12862427" y="0"/>
                </a:moveTo>
                <a:lnTo>
                  <a:pt x="12842864" y="0"/>
                </a:lnTo>
                <a:lnTo>
                  <a:pt x="12849922" y="22955"/>
                </a:lnTo>
                <a:lnTo>
                  <a:pt x="12862427" y="0"/>
                </a:lnTo>
                <a:close/>
              </a:path>
              <a:path w="13852525" h="11308715">
                <a:moveTo>
                  <a:pt x="1356744" y="11181556"/>
                </a:moveTo>
                <a:lnTo>
                  <a:pt x="1317802" y="11206956"/>
                </a:lnTo>
                <a:lnTo>
                  <a:pt x="1288384" y="11308556"/>
                </a:lnTo>
                <a:lnTo>
                  <a:pt x="1318869" y="11308556"/>
                </a:lnTo>
                <a:lnTo>
                  <a:pt x="1356744" y="11181556"/>
                </a:lnTo>
                <a:close/>
              </a:path>
              <a:path w="13852525" h="11308715">
                <a:moveTo>
                  <a:pt x="2108543" y="10737056"/>
                </a:moveTo>
                <a:lnTo>
                  <a:pt x="1991771" y="10813256"/>
                </a:lnTo>
                <a:lnTo>
                  <a:pt x="1863059" y="11308556"/>
                </a:lnTo>
                <a:lnTo>
                  <a:pt x="1960085" y="11308556"/>
                </a:lnTo>
                <a:lnTo>
                  <a:pt x="2108543" y="10737056"/>
                </a:lnTo>
                <a:close/>
              </a:path>
              <a:path w="13852525" h="11308715">
                <a:moveTo>
                  <a:pt x="2860321" y="10292556"/>
                </a:moveTo>
                <a:lnTo>
                  <a:pt x="2665698" y="10419556"/>
                </a:lnTo>
                <a:lnTo>
                  <a:pt x="2464479" y="11308556"/>
                </a:lnTo>
                <a:lnTo>
                  <a:pt x="2631287" y="11308556"/>
                </a:lnTo>
                <a:lnTo>
                  <a:pt x="2860321" y="10292556"/>
                </a:lnTo>
                <a:close/>
              </a:path>
              <a:path w="13852525" h="11308715">
                <a:moveTo>
                  <a:pt x="4206856" y="10991056"/>
                </a:moveTo>
                <a:lnTo>
                  <a:pt x="3978528" y="11232356"/>
                </a:lnTo>
                <a:lnTo>
                  <a:pt x="3984302" y="11308556"/>
                </a:lnTo>
                <a:lnTo>
                  <a:pt x="4230674" y="11308556"/>
                </a:lnTo>
                <a:lnTo>
                  <a:pt x="4206856" y="10991056"/>
                </a:lnTo>
                <a:close/>
              </a:path>
              <a:path w="13852525" h="11308715">
                <a:moveTo>
                  <a:pt x="4844187" y="10356056"/>
                </a:moveTo>
                <a:lnTo>
                  <a:pt x="4550207" y="10660856"/>
                </a:lnTo>
                <a:lnTo>
                  <a:pt x="4626194" y="11308556"/>
                </a:lnTo>
                <a:lnTo>
                  <a:pt x="4956321" y="11308556"/>
                </a:lnTo>
                <a:lnTo>
                  <a:pt x="4844187" y="10356056"/>
                </a:lnTo>
                <a:close/>
              </a:path>
              <a:path w="13852525" h="11308715">
                <a:moveTo>
                  <a:pt x="5579023" y="11168856"/>
                </a:moveTo>
                <a:lnTo>
                  <a:pt x="5495758" y="11308556"/>
                </a:lnTo>
                <a:lnTo>
                  <a:pt x="5639011" y="11308556"/>
                </a:lnTo>
                <a:lnTo>
                  <a:pt x="5579023" y="11168856"/>
                </a:lnTo>
                <a:close/>
              </a:path>
              <a:path w="13852525" h="11308715">
                <a:moveTo>
                  <a:pt x="6049721" y="10356056"/>
                </a:moveTo>
                <a:lnTo>
                  <a:pt x="5788221" y="10825956"/>
                </a:lnTo>
                <a:lnTo>
                  <a:pt x="6010322" y="11308556"/>
                </a:lnTo>
                <a:lnTo>
                  <a:pt x="6481959" y="11308556"/>
                </a:lnTo>
                <a:lnTo>
                  <a:pt x="6049721" y="10356056"/>
                </a:lnTo>
                <a:close/>
              </a:path>
              <a:path w="13852525" h="11308715">
                <a:moveTo>
                  <a:pt x="6792159" y="10851356"/>
                </a:moveTo>
                <a:lnTo>
                  <a:pt x="6670546" y="11308556"/>
                </a:lnTo>
                <a:lnTo>
                  <a:pt x="7184035" y="11308556"/>
                </a:lnTo>
                <a:lnTo>
                  <a:pt x="6792159" y="10851356"/>
                </a:lnTo>
                <a:close/>
              </a:path>
              <a:path w="13852525" h="11308715">
                <a:moveTo>
                  <a:pt x="7666782" y="11130756"/>
                </a:moveTo>
                <a:lnTo>
                  <a:pt x="7667177" y="11308556"/>
                </a:lnTo>
                <a:lnTo>
                  <a:pt x="7938091" y="11308556"/>
                </a:lnTo>
                <a:lnTo>
                  <a:pt x="7666782" y="11130756"/>
                </a:lnTo>
                <a:close/>
              </a:path>
              <a:path w="13852525" h="11308715">
                <a:moveTo>
                  <a:pt x="9478281" y="10813256"/>
                </a:moveTo>
                <a:lnTo>
                  <a:pt x="7686195" y="10813256"/>
                </a:lnTo>
                <a:lnTo>
                  <a:pt x="8511158" y="11308556"/>
                </a:lnTo>
                <a:lnTo>
                  <a:pt x="8554593" y="11308556"/>
                </a:lnTo>
                <a:lnTo>
                  <a:pt x="8554315" y="10851356"/>
                </a:lnTo>
                <a:lnTo>
                  <a:pt x="9488564" y="10851356"/>
                </a:lnTo>
                <a:lnTo>
                  <a:pt x="9478281" y="10813256"/>
                </a:lnTo>
                <a:close/>
              </a:path>
              <a:path w="13852525" h="11308715">
                <a:moveTo>
                  <a:pt x="8619486" y="11168856"/>
                </a:moveTo>
                <a:lnTo>
                  <a:pt x="8658631" y="11308556"/>
                </a:lnTo>
                <a:lnTo>
                  <a:pt x="9042097" y="11308556"/>
                </a:lnTo>
                <a:lnTo>
                  <a:pt x="8619486" y="11168856"/>
                </a:lnTo>
                <a:close/>
              </a:path>
              <a:path w="13852525" h="11308715">
                <a:moveTo>
                  <a:pt x="9587425" y="10952956"/>
                </a:moveTo>
                <a:lnTo>
                  <a:pt x="9799117" y="11308556"/>
                </a:lnTo>
                <a:lnTo>
                  <a:pt x="10926641" y="11308556"/>
                </a:lnTo>
                <a:lnTo>
                  <a:pt x="10757923" y="11029156"/>
                </a:lnTo>
                <a:lnTo>
                  <a:pt x="9587425" y="10952956"/>
                </a:lnTo>
                <a:close/>
              </a:path>
              <a:path w="13852525" h="11308715">
                <a:moveTo>
                  <a:pt x="12527880" y="11029156"/>
                </a:moveTo>
                <a:lnTo>
                  <a:pt x="11234160" y="11219656"/>
                </a:lnTo>
                <a:lnTo>
                  <a:pt x="11329752" y="11308556"/>
                </a:lnTo>
                <a:lnTo>
                  <a:pt x="12829487" y="11308556"/>
                </a:lnTo>
                <a:lnTo>
                  <a:pt x="12527880" y="11029156"/>
                </a:lnTo>
                <a:close/>
              </a:path>
              <a:path w="13852525" h="11308715">
                <a:moveTo>
                  <a:pt x="7638137" y="10546556"/>
                </a:moveTo>
                <a:lnTo>
                  <a:pt x="6890020" y="10546556"/>
                </a:lnTo>
                <a:lnTo>
                  <a:pt x="6887821" y="10559256"/>
                </a:lnTo>
                <a:lnTo>
                  <a:pt x="7563947" y="11270456"/>
                </a:lnTo>
                <a:lnTo>
                  <a:pt x="7686195" y="10813256"/>
                </a:lnTo>
                <a:lnTo>
                  <a:pt x="9478281" y="10813256"/>
                </a:lnTo>
                <a:lnTo>
                  <a:pt x="9437147" y="10660856"/>
                </a:lnTo>
                <a:lnTo>
                  <a:pt x="10524376" y="10660856"/>
                </a:lnTo>
                <a:lnTo>
                  <a:pt x="10516980" y="10648156"/>
                </a:lnTo>
                <a:lnTo>
                  <a:pt x="8499343" y="10648156"/>
                </a:lnTo>
                <a:lnTo>
                  <a:pt x="8414694" y="10597356"/>
                </a:lnTo>
                <a:lnTo>
                  <a:pt x="7686069" y="10597356"/>
                </a:lnTo>
                <a:lnTo>
                  <a:pt x="7638137" y="10546556"/>
                </a:lnTo>
                <a:close/>
              </a:path>
              <a:path w="13852525" h="11308715">
                <a:moveTo>
                  <a:pt x="3612099" y="9848056"/>
                </a:moveTo>
                <a:lnTo>
                  <a:pt x="3339678" y="10013156"/>
                </a:lnTo>
                <a:lnTo>
                  <a:pt x="3128616" y="11143456"/>
                </a:lnTo>
                <a:lnTo>
                  <a:pt x="3401069" y="10978356"/>
                </a:lnTo>
                <a:lnTo>
                  <a:pt x="3612099" y="9848056"/>
                </a:lnTo>
                <a:close/>
              </a:path>
              <a:path w="13852525" h="11308715">
                <a:moveTo>
                  <a:pt x="9488564" y="10851356"/>
                </a:moveTo>
                <a:lnTo>
                  <a:pt x="8556681" y="10851356"/>
                </a:lnTo>
                <a:lnTo>
                  <a:pt x="9567405" y="11143456"/>
                </a:lnTo>
                <a:lnTo>
                  <a:pt x="9488564" y="10851356"/>
                </a:lnTo>
                <a:close/>
              </a:path>
              <a:path w="13852525" h="11308715">
                <a:moveTo>
                  <a:pt x="5481518" y="9708356"/>
                </a:moveTo>
                <a:lnTo>
                  <a:pt x="5121885" y="10089356"/>
                </a:lnTo>
                <a:lnTo>
                  <a:pt x="5288310" y="11092656"/>
                </a:lnTo>
                <a:lnTo>
                  <a:pt x="5647953" y="10711656"/>
                </a:lnTo>
                <a:lnTo>
                  <a:pt x="5481518" y="9708356"/>
                </a:lnTo>
                <a:close/>
              </a:path>
              <a:path w="13852525" h="11308715">
                <a:moveTo>
                  <a:pt x="13851902" y="10571956"/>
                </a:moveTo>
                <a:lnTo>
                  <a:pt x="13158437" y="10838656"/>
                </a:lnTo>
                <a:lnTo>
                  <a:pt x="13506593" y="11029156"/>
                </a:lnTo>
                <a:lnTo>
                  <a:pt x="13851902" y="10889456"/>
                </a:lnTo>
                <a:lnTo>
                  <a:pt x="13851902" y="10571956"/>
                </a:lnTo>
                <a:close/>
              </a:path>
              <a:path w="13852525" h="11308715">
                <a:moveTo>
                  <a:pt x="6806761" y="10102056"/>
                </a:moveTo>
                <a:lnTo>
                  <a:pt x="6214962" y="10102056"/>
                </a:lnTo>
                <a:lnTo>
                  <a:pt x="6210816" y="10114756"/>
                </a:lnTo>
                <a:lnTo>
                  <a:pt x="6660446" y="10965656"/>
                </a:lnTo>
                <a:lnTo>
                  <a:pt x="6890020" y="10546556"/>
                </a:lnTo>
                <a:lnTo>
                  <a:pt x="7638137" y="10546556"/>
                </a:lnTo>
                <a:lnTo>
                  <a:pt x="7458393" y="10356056"/>
                </a:lnTo>
                <a:lnTo>
                  <a:pt x="6941610" y="10356056"/>
                </a:lnTo>
                <a:lnTo>
                  <a:pt x="6806761" y="10102056"/>
                </a:lnTo>
                <a:close/>
              </a:path>
              <a:path w="13852525" h="11308715">
                <a:moveTo>
                  <a:pt x="11697937" y="10241756"/>
                </a:moveTo>
                <a:lnTo>
                  <a:pt x="10502769" y="10483056"/>
                </a:lnTo>
                <a:lnTo>
                  <a:pt x="10933949" y="10902156"/>
                </a:lnTo>
                <a:lnTo>
                  <a:pt x="12129107" y="10660856"/>
                </a:lnTo>
                <a:lnTo>
                  <a:pt x="11697937" y="10241756"/>
                </a:lnTo>
                <a:close/>
              </a:path>
              <a:path w="13852525" h="11308715">
                <a:moveTo>
                  <a:pt x="4363898" y="9390856"/>
                </a:moveTo>
                <a:lnTo>
                  <a:pt x="4013595" y="9619456"/>
                </a:lnTo>
                <a:lnTo>
                  <a:pt x="3860447" y="10673556"/>
                </a:lnTo>
                <a:lnTo>
                  <a:pt x="4210719" y="10457656"/>
                </a:lnTo>
                <a:lnTo>
                  <a:pt x="4363898" y="9390856"/>
                </a:lnTo>
                <a:close/>
              </a:path>
              <a:path w="13852525" h="11308715">
                <a:moveTo>
                  <a:pt x="10524376" y="10660856"/>
                </a:moveTo>
                <a:lnTo>
                  <a:pt x="9441827" y="10660856"/>
                </a:lnTo>
                <a:lnTo>
                  <a:pt x="10531773" y="10673556"/>
                </a:lnTo>
                <a:lnTo>
                  <a:pt x="10524376" y="10660856"/>
                </a:lnTo>
                <a:close/>
              </a:path>
              <a:path w="13852525" h="11308715">
                <a:moveTo>
                  <a:pt x="9253203" y="10025856"/>
                </a:moveTo>
                <a:lnTo>
                  <a:pt x="7875927" y="10025856"/>
                </a:lnTo>
                <a:lnTo>
                  <a:pt x="8408372" y="10305256"/>
                </a:lnTo>
                <a:lnTo>
                  <a:pt x="8499343" y="10648156"/>
                </a:lnTo>
                <a:lnTo>
                  <a:pt x="10516980" y="10648156"/>
                </a:lnTo>
                <a:lnTo>
                  <a:pt x="10413427" y="10470356"/>
                </a:lnTo>
                <a:lnTo>
                  <a:pt x="9327893" y="10470356"/>
                </a:lnTo>
                <a:lnTo>
                  <a:pt x="8539708" y="10241756"/>
                </a:lnTo>
                <a:lnTo>
                  <a:pt x="8539834" y="10038556"/>
                </a:lnTo>
                <a:lnTo>
                  <a:pt x="9256753" y="10038556"/>
                </a:lnTo>
                <a:lnTo>
                  <a:pt x="9253203" y="10025856"/>
                </a:lnTo>
                <a:close/>
              </a:path>
              <a:path w="13852525" h="11308715">
                <a:moveTo>
                  <a:pt x="9207049" y="9860756"/>
                </a:moveTo>
                <a:lnTo>
                  <a:pt x="7259580" y="9860756"/>
                </a:lnTo>
                <a:lnTo>
                  <a:pt x="7685860" y="10254456"/>
                </a:lnTo>
                <a:lnTo>
                  <a:pt x="7686069" y="10597356"/>
                </a:lnTo>
                <a:lnTo>
                  <a:pt x="8414694" y="10597356"/>
                </a:lnTo>
                <a:lnTo>
                  <a:pt x="7822149" y="10241756"/>
                </a:lnTo>
                <a:lnTo>
                  <a:pt x="7875927" y="10025856"/>
                </a:lnTo>
                <a:lnTo>
                  <a:pt x="9253203" y="10025856"/>
                </a:lnTo>
                <a:lnTo>
                  <a:pt x="9207049" y="9860756"/>
                </a:lnTo>
                <a:close/>
              </a:path>
              <a:path w="13852525" h="11308715">
                <a:moveTo>
                  <a:pt x="13475066" y="9759156"/>
                </a:moveTo>
                <a:lnTo>
                  <a:pt x="12227920" y="10305256"/>
                </a:lnTo>
                <a:lnTo>
                  <a:pt x="12673708" y="10546556"/>
                </a:lnTo>
                <a:lnTo>
                  <a:pt x="13851902" y="10025856"/>
                </a:lnTo>
                <a:lnTo>
                  <a:pt x="13851902" y="9962356"/>
                </a:lnTo>
                <a:lnTo>
                  <a:pt x="13475066" y="9759156"/>
                </a:lnTo>
                <a:close/>
              </a:path>
              <a:path w="13852525" h="11308715">
                <a:moveTo>
                  <a:pt x="918223" y="9301956"/>
                </a:moveTo>
                <a:lnTo>
                  <a:pt x="874706" y="9314656"/>
                </a:lnTo>
                <a:lnTo>
                  <a:pt x="182915" y="10495756"/>
                </a:lnTo>
                <a:lnTo>
                  <a:pt x="226443" y="10470356"/>
                </a:lnTo>
                <a:lnTo>
                  <a:pt x="918223" y="9301956"/>
                </a:lnTo>
                <a:close/>
              </a:path>
              <a:path w="13852525" h="11308715">
                <a:moveTo>
                  <a:pt x="9256753" y="10038556"/>
                </a:moveTo>
                <a:lnTo>
                  <a:pt x="8539834" y="10038556"/>
                </a:lnTo>
                <a:lnTo>
                  <a:pt x="9147072" y="10152856"/>
                </a:lnTo>
                <a:lnTo>
                  <a:pt x="9327893" y="10470356"/>
                </a:lnTo>
                <a:lnTo>
                  <a:pt x="10413427" y="10470356"/>
                </a:lnTo>
                <a:lnTo>
                  <a:pt x="10272891" y="10229056"/>
                </a:lnTo>
                <a:lnTo>
                  <a:pt x="10279707" y="10229056"/>
                </a:lnTo>
                <a:lnTo>
                  <a:pt x="10877850" y="10076656"/>
                </a:lnTo>
                <a:lnTo>
                  <a:pt x="10113807" y="10076656"/>
                </a:lnTo>
                <a:lnTo>
                  <a:pt x="9263854" y="10063956"/>
                </a:lnTo>
                <a:lnTo>
                  <a:pt x="9256753" y="10038556"/>
                </a:lnTo>
                <a:close/>
              </a:path>
              <a:path w="13852525" h="11308715">
                <a:moveTo>
                  <a:pt x="6217188" y="9505156"/>
                </a:moveTo>
                <a:lnTo>
                  <a:pt x="5699250" y="9505156"/>
                </a:lnTo>
                <a:lnTo>
                  <a:pt x="5693554" y="9517856"/>
                </a:lnTo>
                <a:lnTo>
                  <a:pt x="5899569" y="10432256"/>
                </a:lnTo>
                <a:lnTo>
                  <a:pt x="6214962" y="10102056"/>
                </a:lnTo>
                <a:lnTo>
                  <a:pt x="6806761" y="10102056"/>
                </a:lnTo>
                <a:lnTo>
                  <a:pt x="6712367" y="9924256"/>
                </a:lnTo>
                <a:lnTo>
                  <a:pt x="6311860" y="9924256"/>
                </a:lnTo>
                <a:lnTo>
                  <a:pt x="6217188" y="9505156"/>
                </a:lnTo>
                <a:close/>
              </a:path>
              <a:path w="13852525" h="11308715">
                <a:moveTo>
                  <a:pt x="9853036" y="9543256"/>
                </a:moveTo>
                <a:lnTo>
                  <a:pt x="6729292" y="9543256"/>
                </a:lnTo>
                <a:lnTo>
                  <a:pt x="7027000" y="10025856"/>
                </a:lnTo>
                <a:lnTo>
                  <a:pt x="6941610" y="10356056"/>
                </a:lnTo>
                <a:lnTo>
                  <a:pt x="7458393" y="10356056"/>
                </a:lnTo>
                <a:lnTo>
                  <a:pt x="7158818" y="10038556"/>
                </a:lnTo>
                <a:lnTo>
                  <a:pt x="7259580" y="9860756"/>
                </a:lnTo>
                <a:lnTo>
                  <a:pt x="9207049" y="9860756"/>
                </a:lnTo>
                <a:lnTo>
                  <a:pt x="9850537" y="9809956"/>
                </a:lnTo>
                <a:lnTo>
                  <a:pt x="11233329" y="9809956"/>
                </a:lnTo>
                <a:lnTo>
                  <a:pt x="11116350" y="9695656"/>
                </a:lnTo>
                <a:lnTo>
                  <a:pt x="9943571" y="9695656"/>
                </a:lnTo>
                <a:lnTo>
                  <a:pt x="9853036" y="9543256"/>
                </a:lnTo>
                <a:close/>
              </a:path>
              <a:path w="13852525" h="11308715">
                <a:moveTo>
                  <a:pt x="1727580" y="9060656"/>
                </a:moveTo>
                <a:lnTo>
                  <a:pt x="1599951" y="9111456"/>
                </a:lnTo>
                <a:lnTo>
                  <a:pt x="979394" y="10229056"/>
                </a:lnTo>
                <a:lnTo>
                  <a:pt x="1107013" y="10190956"/>
                </a:lnTo>
                <a:lnTo>
                  <a:pt x="1727580" y="9060656"/>
                </a:lnTo>
                <a:close/>
              </a:path>
              <a:path w="13852525" h="11308715">
                <a:moveTo>
                  <a:pt x="5115655" y="8946356"/>
                </a:moveTo>
                <a:lnTo>
                  <a:pt x="4687553" y="9213056"/>
                </a:lnTo>
                <a:lnTo>
                  <a:pt x="4592258" y="10203656"/>
                </a:lnTo>
                <a:lnTo>
                  <a:pt x="5020360" y="9936956"/>
                </a:lnTo>
                <a:lnTo>
                  <a:pt x="5115655" y="8946356"/>
                </a:lnTo>
                <a:close/>
              </a:path>
              <a:path w="13852525" h="11308715">
                <a:moveTo>
                  <a:pt x="11233329" y="9809956"/>
                </a:moveTo>
                <a:lnTo>
                  <a:pt x="9850537" y="9809956"/>
                </a:lnTo>
                <a:lnTo>
                  <a:pt x="10113807" y="10076656"/>
                </a:lnTo>
                <a:lnTo>
                  <a:pt x="10877850" y="10076656"/>
                </a:lnTo>
                <a:lnTo>
                  <a:pt x="11376302" y="9949656"/>
                </a:lnTo>
                <a:lnTo>
                  <a:pt x="11233329" y="9809956"/>
                </a:lnTo>
                <a:close/>
              </a:path>
              <a:path w="13852525" h="11308715">
                <a:moveTo>
                  <a:pt x="12433862" y="9213056"/>
                </a:moveTo>
                <a:lnTo>
                  <a:pt x="11297383" y="9771856"/>
                </a:lnTo>
                <a:lnTo>
                  <a:pt x="11840833" y="10063956"/>
                </a:lnTo>
                <a:lnTo>
                  <a:pt x="12977322" y="9505156"/>
                </a:lnTo>
                <a:lnTo>
                  <a:pt x="12433862" y="9213056"/>
                </a:lnTo>
                <a:close/>
              </a:path>
              <a:path w="13852525" h="11308715">
                <a:moveTo>
                  <a:pt x="2536927" y="8832056"/>
                </a:moveTo>
                <a:lnTo>
                  <a:pt x="2325217" y="8908256"/>
                </a:lnTo>
                <a:lnTo>
                  <a:pt x="1775893" y="9975056"/>
                </a:lnTo>
                <a:lnTo>
                  <a:pt x="1987583" y="9911556"/>
                </a:lnTo>
                <a:lnTo>
                  <a:pt x="2536927" y="8832056"/>
                </a:lnTo>
                <a:close/>
              </a:path>
              <a:path w="13852525" h="11308715">
                <a:moveTo>
                  <a:pt x="10489852" y="9111456"/>
                </a:moveTo>
                <a:lnTo>
                  <a:pt x="6315661" y="9111456"/>
                </a:lnTo>
                <a:lnTo>
                  <a:pt x="6472200" y="9644856"/>
                </a:lnTo>
                <a:lnTo>
                  <a:pt x="6311860" y="9924256"/>
                </a:lnTo>
                <a:lnTo>
                  <a:pt x="6712367" y="9924256"/>
                </a:lnTo>
                <a:lnTo>
                  <a:pt x="6591003" y="9695656"/>
                </a:lnTo>
                <a:lnTo>
                  <a:pt x="6729292" y="9543256"/>
                </a:lnTo>
                <a:lnTo>
                  <a:pt x="9853036" y="9543256"/>
                </a:lnTo>
                <a:lnTo>
                  <a:pt x="9830402" y="9505156"/>
                </a:lnTo>
                <a:lnTo>
                  <a:pt x="10466644" y="9289256"/>
                </a:lnTo>
                <a:lnTo>
                  <a:pt x="11532261" y="9289256"/>
                </a:lnTo>
                <a:lnTo>
                  <a:pt x="11783015" y="9149556"/>
                </a:lnTo>
                <a:lnTo>
                  <a:pt x="10527909" y="9149556"/>
                </a:lnTo>
                <a:lnTo>
                  <a:pt x="10489852" y="9111456"/>
                </a:lnTo>
                <a:close/>
              </a:path>
              <a:path w="13852525" h="11308715">
                <a:moveTo>
                  <a:pt x="5854782" y="8819356"/>
                </a:moveTo>
                <a:lnTo>
                  <a:pt x="5368265" y="8819356"/>
                </a:lnTo>
                <a:lnTo>
                  <a:pt x="5361413" y="8821283"/>
                </a:lnTo>
                <a:lnTo>
                  <a:pt x="5324057" y="9746456"/>
                </a:lnTo>
                <a:lnTo>
                  <a:pt x="5699250" y="9505156"/>
                </a:lnTo>
                <a:lnTo>
                  <a:pt x="6217188" y="9505156"/>
                </a:lnTo>
                <a:lnTo>
                  <a:pt x="6185631" y="9365456"/>
                </a:lnTo>
                <a:lnTo>
                  <a:pt x="5832366" y="9365456"/>
                </a:lnTo>
                <a:lnTo>
                  <a:pt x="5854782" y="8819356"/>
                </a:lnTo>
                <a:close/>
              </a:path>
              <a:path w="13852525" h="11308715">
                <a:moveTo>
                  <a:pt x="3346275" y="8603456"/>
                </a:moveTo>
                <a:lnTo>
                  <a:pt x="3050472" y="8692356"/>
                </a:lnTo>
                <a:lnTo>
                  <a:pt x="2572382" y="9721056"/>
                </a:lnTo>
                <a:lnTo>
                  <a:pt x="2868174" y="9619456"/>
                </a:lnTo>
                <a:lnTo>
                  <a:pt x="3346275" y="8603456"/>
                </a:lnTo>
                <a:close/>
              </a:path>
              <a:path w="13852525" h="11308715">
                <a:moveTo>
                  <a:pt x="11532261" y="9289256"/>
                </a:moveTo>
                <a:lnTo>
                  <a:pt x="10466644" y="9289256"/>
                </a:lnTo>
                <a:lnTo>
                  <a:pt x="10798718" y="9467056"/>
                </a:lnTo>
                <a:lnTo>
                  <a:pt x="9943571" y="9695656"/>
                </a:lnTo>
                <a:lnTo>
                  <a:pt x="11116350" y="9695656"/>
                </a:lnTo>
                <a:lnTo>
                  <a:pt x="10999371" y="9581356"/>
                </a:lnTo>
                <a:lnTo>
                  <a:pt x="11007958" y="9581356"/>
                </a:lnTo>
                <a:lnTo>
                  <a:pt x="11532261" y="9289256"/>
                </a:lnTo>
                <a:close/>
              </a:path>
              <a:path w="13852525" h="11308715">
                <a:moveTo>
                  <a:pt x="4155632" y="8374856"/>
                </a:moveTo>
                <a:lnTo>
                  <a:pt x="3775727" y="8489156"/>
                </a:lnTo>
                <a:lnTo>
                  <a:pt x="3368860" y="9454356"/>
                </a:lnTo>
                <a:lnTo>
                  <a:pt x="3748765" y="9340056"/>
                </a:lnTo>
                <a:lnTo>
                  <a:pt x="4155632" y="8374856"/>
                </a:lnTo>
                <a:close/>
              </a:path>
              <a:path w="13852525" h="11308715">
                <a:moveTo>
                  <a:pt x="11727822" y="8590756"/>
                </a:moveTo>
                <a:lnTo>
                  <a:pt x="6039638" y="8590756"/>
                </a:lnTo>
                <a:lnTo>
                  <a:pt x="6052663" y="9136856"/>
                </a:lnTo>
                <a:lnTo>
                  <a:pt x="5832366" y="9365456"/>
                </a:lnTo>
                <a:lnTo>
                  <a:pt x="6185631" y="9365456"/>
                </a:lnTo>
                <a:lnTo>
                  <a:pt x="6151205" y="9213056"/>
                </a:lnTo>
                <a:lnTo>
                  <a:pt x="6315661" y="9111456"/>
                </a:lnTo>
                <a:lnTo>
                  <a:pt x="10489852" y="9111456"/>
                </a:lnTo>
                <a:lnTo>
                  <a:pt x="10362993" y="8984456"/>
                </a:lnTo>
                <a:lnTo>
                  <a:pt x="10946389" y="8603456"/>
                </a:lnTo>
                <a:lnTo>
                  <a:pt x="11714521" y="8603456"/>
                </a:lnTo>
                <a:lnTo>
                  <a:pt x="11727822" y="8590756"/>
                </a:lnTo>
                <a:close/>
              </a:path>
              <a:path w="13852525" h="11308715">
                <a:moveTo>
                  <a:pt x="13851902" y="8451056"/>
                </a:moveTo>
                <a:lnTo>
                  <a:pt x="12983206" y="9124156"/>
                </a:lnTo>
                <a:lnTo>
                  <a:pt x="13494719" y="9251156"/>
                </a:lnTo>
                <a:lnTo>
                  <a:pt x="13851902" y="8959056"/>
                </a:lnTo>
                <a:lnTo>
                  <a:pt x="13851902" y="8451056"/>
                </a:lnTo>
                <a:close/>
              </a:path>
              <a:path w="13852525" h="11308715">
                <a:moveTo>
                  <a:pt x="4964979" y="8133556"/>
                </a:moveTo>
                <a:lnTo>
                  <a:pt x="4500993" y="8285956"/>
                </a:lnTo>
                <a:lnTo>
                  <a:pt x="4165328" y="9200356"/>
                </a:lnTo>
                <a:lnTo>
                  <a:pt x="4629345" y="9047956"/>
                </a:lnTo>
                <a:lnTo>
                  <a:pt x="4964979" y="8133556"/>
                </a:lnTo>
                <a:close/>
              </a:path>
              <a:path w="13852525" h="11308715">
                <a:moveTo>
                  <a:pt x="11714521" y="8603456"/>
                </a:moveTo>
                <a:lnTo>
                  <a:pt x="10946389" y="8603456"/>
                </a:lnTo>
                <a:lnTo>
                  <a:pt x="11327843" y="8692356"/>
                </a:lnTo>
                <a:lnTo>
                  <a:pt x="10527909" y="9149556"/>
                </a:lnTo>
                <a:lnTo>
                  <a:pt x="11783015" y="9149556"/>
                </a:lnTo>
                <a:lnTo>
                  <a:pt x="12033769" y="9009856"/>
                </a:lnTo>
                <a:lnTo>
                  <a:pt x="11558349" y="8743156"/>
                </a:lnTo>
                <a:lnTo>
                  <a:pt x="11568202" y="8743156"/>
                </a:lnTo>
                <a:lnTo>
                  <a:pt x="11714521" y="8603456"/>
                </a:lnTo>
                <a:close/>
              </a:path>
              <a:path w="13852525" h="11308715">
                <a:moveTo>
                  <a:pt x="12901020" y="7993856"/>
                </a:moveTo>
                <a:lnTo>
                  <a:pt x="11907469" y="8857456"/>
                </a:lnTo>
                <a:lnTo>
                  <a:pt x="12531471" y="8997156"/>
                </a:lnTo>
                <a:lnTo>
                  <a:pt x="13525022" y="8133556"/>
                </a:lnTo>
                <a:lnTo>
                  <a:pt x="12901020" y="7993856"/>
                </a:lnTo>
                <a:close/>
              </a:path>
              <a:path w="13852525" h="11308715">
                <a:moveTo>
                  <a:pt x="5725039" y="8070056"/>
                </a:moveTo>
                <a:lnTo>
                  <a:pt x="5233589" y="8070056"/>
                </a:lnTo>
                <a:lnTo>
                  <a:pt x="5226178" y="8070286"/>
                </a:lnTo>
                <a:lnTo>
                  <a:pt x="4961838" y="8933656"/>
                </a:lnTo>
                <a:lnTo>
                  <a:pt x="5361413" y="8821283"/>
                </a:lnTo>
                <a:lnTo>
                  <a:pt x="5361491" y="8819356"/>
                </a:lnTo>
                <a:lnTo>
                  <a:pt x="5854782" y="8819356"/>
                </a:lnTo>
                <a:lnTo>
                  <a:pt x="5858953" y="8717756"/>
                </a:lnTo>
                <a:lnTo>
                  <a:pt x="5526627" y="8717756"/>
                </a:lnTo>
                <a:lnTo>
                  <a:pt x="5725039" y="8070056"/>
                </a:lnTo>
                <a:close/>
              </a:path>
              <a:path w="13852525" h="11308715">
                <a:moveTo>
                  <a:pt x="5368265" y="8819356"/>
                </a:moveTo>
                <a:lnTo>
                  <a:pt x="5361491" y="8819356"/>
                </a:lnTo>
                <a:lnTo>
                  <a:pt x="5361413" y="8821283"/>
                </a:lnTo>
                <a:lnTo>
                  <a:pt x="5368265" y="8819356"/>
                </a:lnTo>
                <a:close/>
              </a:path>
              <a:path w="13852525" h="11308715">
                <a:moveTo>
                  <a:pt x="11034068" y="8031956"/>
                </a:moveTo>
                <a:lnTo>
                  <a:pt x="5911840" y="8031956"/>
                </a:lnTo>
                <a:lnTo>
                  <a:pt x="5788671" y="8552656"/>
                </a:lnTo>
                <a:lnTo>
                  <a:pt x="5526627" y="8717756"/>
                </a:lnTo>
                <a:lnTo>
                  <a:pt x="5858953" y="8717756"/>
                </a:lnTo>
                <a:lnTo>
                  <a:pt x="5861559" y="8654256"/>
                </a:lnTo>
                <a:lnTo>
                  <a:pt x="6039638" y="8590756"/>
                </a:lnTo>
                <a:lnTo>
                  <a:pt x="11727822" y="8590756"/>
                </a:lnTo>
                <a:lnTo>
                  <a:pt x="11887442" y="8438356"/>
                </a:lnTo>
                <a:lnTo>
                  <a:pt x="10969582" y="8438356"/>
                </a:lnTo>
                <a:lnTo>
                  <a:pt x="10761483" y="8324056"/>
                </a:lnTo>
                <a:lnTo>
                  <a:pt x="11034068" y="8031956"/>
                </a:lnTo>
                <a:close/>
              </a:path>
              <a:path w="13852525" h="11308715">
                <a:moveTo>
                  <a:pt x="11954577" y="7790656"/>
                </a:moveTo>
                <a:lnTo>
                  <a:pt x="11654158" y="7790656"/>
                </a:lnTo>
                <a:lnTo>
                  <a:pt x="10969582" y="8438356"/>
                </a:lnTo>
                <a:lnTo>
                  <a:pt x="11887442" y="8438356"/>
                </a:lnTo>
                <a:lnTo>
                  <a:pt x="12446113" y="7904956"/>
                </a:lnTo>
                <a:lnTo>
                  <a:pt x="11954577" y="7790656"/>
                </a:lnTo>
                <a:close/>
              </a:path>
              <a:path w="13852525" h="11308715">
                <a:moveTo>
                  <a:pt x="979970" y="7396956"/>
                </a:moveTo>
                <a:lnTo>
                  <a:pt x="935060" y="7409656"/>
                </a:lnTo>
                <a:lnTo>
                  <a:pt x="0" y="8349456"/>
                </a:lnTo>
                <a:lnTo>
                  <a:pt x="44899" y="8336756"/>
                </a:lnTo>
                <a:lnTo>
                  <a:pt x="979970" y="7396956"/>
                </a:lnTo>
                <a:close/>
              </a:path>
              <a:path w="13852525" h="11308715">
                <a:moveTo>
                  <a:pt x="1789442" y="7384256"/>
                </a:moveTo>
                <a:lnTo>
                  <a:pt x="1660137" y="7396956"/>
                </a:lnTo>
                <a:lnTo>
                  <a:pt x="804153" y="8298656"/>
                </a:lnTo>
                <a:lnTo>
                  <a:pt x="933427" y="8298656"/>
                </a:lnTo>
                <a:lnTo>
                  <a:pt x="1789442" y="7384256"/>
                </a:lnTo>
                <a:close/>
              </a:path>
              <a:path w="13852525" h="11308715">
                <a:moveTo>
                  <a:pt x="2598884" y="7371556"/>
                </a:moveTo>
                <a:lnTo>
                  <a:pt x="2385225" y="7384256"/>
                </a:lnTo>
                <a:lnTo>
                  <a:pt x="1608296" y="8260556"/>
                </a:lnTo>
                <a:lnTo>
                  <a:pt x="1821944" y="8247856"/>
                </a:lnTo>
                <a:lnTo>
                  <a:pt x="2598884" y="7371556"/>
                </a:lnTo>
                <a:close/>
              </a:path>
              <a:path w="13852525" h="11308715">
                <a:moveTo>
                  <a:pt x="3408325" y="7358856"/>
                </a:moveTo>
                <a:lnTo>
                  <a:pt x="3110324" y="7371556"/>
                </a:lnTo>
                <a:lnTo>
                  <a:pt x="2412450" y="8222456"/>
                </a:lnTo>
                <a:lnTo>
                  <a:pt x="2710472" y="8197056"/>
                </a:lnTo>
                <a:lnTo>
                  <a:pt x="3408325" y="7358856"/>
                </a:lnTo>
                <a:close/>
              </a:path>
              <a:path w="13852525" h="11308715">
                <a:moveTo>
                  <a:pt x="4217798" y="7346156"/>
                </a:moveTo>
                <a:lnTo>
                  <a:pt x="3835401" y="7358856"/>
                </a:lnTo>
                <a:lnTo>
                  <a:pt x="3216593" y="8171656"/>
                </a:lnTo>
                <a:lnTo>
                  <a:pt x="3598979" y="8158956"/>
                </a:lnTo>
                <a:lnTo>
                  <a:pt x="4217798" y="7346156"/>
                </a:lnTo>
                <a:close/>
              </a:path>
              <a:path w="13852525" h="11308715">
                <a:moveTo>
                  <a:pt x="5027260" y="7333456"/>
                </a:moveTo>
                <a:lnTo>
                  <a:pt x="4560478" y="7346156"/>
                </a:lnTo>
                <a:lnTo>
                  <a:pt x="4020736" y="8133556"/>
                </a:lnTo>
                <a:lnTo>
                  <a:pt x="4487507" y="8108156"/>
                </a:lnTo>
                <a:lnTo>
                  <a:pt x="5027260" y="7333456"/>
                </a:lnTo>
                <a:close/>
              </a:path>
              <a:path w="13852525" h="11308715">
                <a:moveTo>
                  <a:pt x="11539800" y="6863556"/>
                </a:moveTo>
                <a:lnTo>
                  <a:pt x="5944960" y="6863556"/>
                </a:lnTo>
                <a:lnTo>
                  <a:pt x="6091165" y="6939756"/>
                </a:lnTo>
                <a:lnTo>
                  <a:pt x="5750913" y="7320756"/>
                </a:lnTo>
                <a:lnTo>
                  <a:pt x="5465456" y="7333456"/>
                </a:lnTo>
                <a:lnTo>
                  <a:pt x="5285566" y="7333456"/>
                </a:lnTo>
                <a:lnTo>
                  <a:pt x="4824879" y="8082756"/>
                </a:lnTo>
                <a:lnTo>
                  <a:pt x="5226178" y="8070286"/>
                </a:lnTo>
                <a:lnTo>
                  <a:pt x="5226249" y="8070056"/>
                </a:lnTo>
                <a:lnTo>
                  <a:pt x="5725039" y="8070056"/>
                </a:lnTo>
                <a:lnTo>
                  <a:pt x="5732820" y="8044656"/>
                </a:lnTo>
                <a:lnTo>
                  <a:pt x="5911840" y="8031956"/>
                </a:lnTo>
                <a:lnTo>
                  <a:pt x="11034068" y="8031956"/>
                </a:lnTo>
                <a:lnTo>
                  <a:pt x="11045920" y="8019256"/>
                </a:lnTo>
                <a:lnTo>
                  <a:pt x="5405133" y="8019256"/>
                </a:lnTo>
                <a:lnTo>
                  <a:pt x="5764379" y="7435056"/>
                </a:lnTo>
                <a:lnTo>
                  <a:pt x="11064475" y="7435056"/>
                </a:lnTo>
                <a:lnTo>
                  <a:pt x="11337424" y="6927056"/>
                </a:lnTo>
                <a:lnTo>
                  <a:pt x="11539800" y="6863556"/>
                </a:lnTo>
                <a:close/>
              </a:path>
              <a:path w="13852525" h="11308715">
                <a:moveTo>
                  <a:pt x="5233589" y="8070056"/>
                </a:moveTo>
                <a:lnTo>
                  <a:pt x="5226249" y="8070056"/>
                </a:lnTo>
                <a:lnTo>
                  <a:pt x="5226178" y="8070286"/>
                </a:lnTo>
                <a:lnTo>
                  <a:pt x="5233589" y="8070056"/>
                </a:lnTo>
                <a:close/>
              </a:path>
              <a:path w="13852525" h="11308715">
                <a:moveTo>
                  <a:pt x="11064475" y="7435056"/>
                </a:moveTo>
                <a:lnTo>
                  <a:pt x="5764379" y="7435056"/>
                </a:lnTo>
                <a:lnTo>
                  <a:pt x="5932290" y="7473156"/>
                </a:lnTo>
                <a:lnTo>
                  <a:pt x="5689010" y="7930356"/>
                </a:lnTo>
                <a:lnTo>
                  <a:pt x="5405133" y="8019256"/>
                </a:lnTo>
                <a:lnTo>
                  <a:pt x="11045920" y="8019256"/>
                </a:lnTo>
                <a:lnTo>
                  <a:pt x="11247395" y="7803356"/>
                </a:lnTo>
                <a:lnTo>
                  <a:pt x="11654158" y="7790656"/>
                </a:lnTo>
                <a:lnTo>
                  <a:pt x="11954577" y="7790656"/>
                </a:lnTo>
                <a:lnTo>
                  <a:pt x="11899962" y="7777956"/>
                </a:lnTo>
                <a:lnTo>
                  <a:pt x="11910475" y="7777956"/>
                </a:lnTo>
                <a:lnTo>
                  <a:pt x="11996729" y="7638256"/>
                </a:lnTo>
                <a:lnTo>
                  <a:pt x="11228548" y="7638256"/>
                </a:lnTo>
                <a:lnTo>
                  <a:pt x="10989414" y="7574756"/>
                </a:lnTo>
                <a:lnTo>
                  <a:pt x="11064475" y="7435056"/>
                </a:lnTo>
                <a:close/>
              </a:path>
              <a:path w="13852525" h="11308715">
                <a:moveTo>
                  <a:pt x="13715058" y="6647656"/>
                </a:moveTo>
                <a:lnTo>
                  <a:pt x="13049916" y="6673056"/>
                </a:lnTo>
                <a:lnTo>
                  <a:pt x="12278526" y="7790656"/>
                </a:lnTo>
                <a:lnTo>
                  <a:pt x="12943658" y="7765256"/>
                </a:lnTo>
                <a:lnTo>
                  <a:pt x="13715058" y="6647656"/>
                </a:lnTo>
                <a:close/>
              </a:path>
              <a:path w="13852525" h="11308715">
                <a:moveTo>
                  <a:pt x="13851902" y="7219156"/>
                </a:moveTo>
                <a:lnTo>
                  <a:pt x="13431926" y="7765256"/>
                </a:lnTo>
                <a:lnTo>
                  <a:pt x="13851902" y="7752556"/>
                </a:lnTo>
                <a:lnTo>
                  <a:pt x="13851902" y="7219156"/>
                </a:lnTo>
                <a:close/>
              </a:path>
              <a:path w="13852525" h="11308715">
                <a:moveTo>
                  <a:pt x="12514256" y="6800056"/>
                </a:moveTo>
                <a:lnTo>
                  <a:pt x="11742176" y="6800056"/>
                </a:lnTo>
                <a:lnTo>
                  <a:pt x="11228548" y="7638256"/>
                </a:lnTo>
                <a:lnTo>
                  <a:pt x="11996729" y="7638256"/>
                </a:lnTo>
                <a:lnTo>
                  <a:pt x="12514256" y="6800056"/>
                </a:lnTo>
                <a:close/>
              </a:path>
              <a:path w="13852525" h="11308715">
                <a:moveTo>
                  <a:pt x="5518683" y="6653162"/>
                </a:moveTo>
                <a:lnTo>
                  <a:pt x="4909473" y="7244556"/>
                </a:lnTo>
                <a:lnTo>
                  <a:pt x="5292969" y="7333456"/>
                </a:lnTo>
                <a:lnTo>
                  <a:pt x="5465456" y="7333456"/>
                </a:lnTo>
                <a:lnTo>
                  <a:pt x="5944960" y="6863556"/>
                </a:lnTo>
                <a:lnTo>
                  <a:pt x="11539800" y="6863556"/>
                </a:lnTo>
                <a:lnTo>
                  <a:pt x="11742176" y="6800056"/>
                </a:lnTo>
                <a:lnTo>
                  <a:pt x="12514256" y="6800056"/>
                </a:lnTo>
                <a:lnTo>
                  <a:pt x="12529939" y="6774656"/>
                </a:lnTo>
                <a:lnTo>
                  <a:pt x="11020240" y="6774656"/>
                </a:lnTo>
                <a:lnTo>
                  <a:pt x="11026344" y="6749256"/>
                </a:lnTo>
                <a:lnTo>
                  <a:pt x="5960991" y="6749256"/>
                </a:lnTo>
                <a:lnTo>
                  <a:pt x="5693135" y="6685756"/>
                </a:lnTo>
                <a:lnTo>
                  <a:pt x="5737997" y="6660356"/>
                </a:lnTo>
                <a:lnTo>
                  <a:pt x="5531297" y="6660356"/>
                </a:lnTo>
                <a:lnTo>
                  <a:pt x="5518683" y="6653162"/>
                </a:lnTo>
                <a:close/>
              </a:path>
              <a:path w="13852525" h="11308715">
                <a:moveTo>
                  <a:pt x="4847957" y="6482556"/>
                </a:moveTo>
                <a:lnTo>
                  <a:pt x="4151925" y="7079456"/>
                </a:lnTo>
                <a:lnTo>
                  <a:pt x="4590069" y="7181056"/>
                </a:lnTo>
                <a:lnTo>
                  <a:pt x="5286111" y="6584156"/>
                </a:lnTo>
                <a:lnTo>
                  <a:pt x="4847957" y="6482556"/>
                </a:lnTo>
                <a:close/>
              </a:path>
              <a:path w="13852525" h="11308715">
                <a:moveTo>
                  <a:pt x="4171558" y="6304756"/>
                </a:moveTo>
                <a:lnTo>
                  <a:pt x="3394367" y="6914356"/>
                </a:lnTo>
                <a:lnTo>
                  <a:pt x="3753519" y="7003256"/>
                </a:lnTo>
                <a:lnTo>
                  <a:pt x="4530731" y="6393656"/>
                </a:lnTo>
                <a:lnTo>
                  <a:pt x="4171558" y="6304756"/>
                </a:lnTo>
                <a:close/>
              </a:path>
              <a:path w="13852525" h="11308715">
                <a:moveTo>
                  <a:pt x="3495139" y="6139656"/>
                </a:moveTo>
                <a:lnTo>
                  <a:pt x="2636809" y="6761956"/>
                </a:lnTo>
                <a:lnTo>
                  <a:pt x="2916968" y="6825456"/>
                </a:lnTo>
                <a:lnTo>
                  <a:pt x="3775330" y="6203156"/>
                </a:lnTo>
                <a:lnTo>
                  <a:pt x="3495139" y="6139656"/>
                </a:lnTo>
                <a:close/>
              </a:path>
              <a:path w="13852525" h="11308715">
                <a:moveTo>
                  <a:pt x="12278779" y="5809456"/>
                </a:moveTo>
                <a:lnTo>
                  <a:pt x="11571134" y="5809456"/>
                </a:lnTo>
                <a:lnTo>
                  <a:pt x="11275332" y="6774656"/>
                </a:lnTo>
                <a:lnTo>
                  <a:pt x="12529939" y="6774656"/>
                </a:lnTo>
                <a:lnTo>
                  <a:pt x="12561304" y="6723856"/>
                </a:lnTo>
                <a:lnTo>
                  <a:pt x="11986744" y="6723856"/>
                </a:lnTo>
                <a:lnTo>
                  <a:pt x="11997286" y="6723626"/>
                </a:lnTo>
                <a:lnTo>
                  <a:pt x="12278779" y="5809456"/>
                </a:lnTo>
                <a:close/>
              </a:path>
              <a:path w="13852525" h="11308715">
                <a:moveTo>
                  <a:pt x="11117907" y="6368256"/>
                </a:moveTo>
                <a:lnTo>
                  <a:pt x="6253903" y="6368256"/>
                </a:lnTo>
                <a:lnTo>
                  <a:pt x="6369868" y="6482556"/>
                </a:lnTo>
                <a:lnTo>
                  <a:pt x="5960991" y="6749256"/>
                </a:lnTo>
                <a:lnTo>
                  <a:pt x="11026344" y="6749256"/>
                </a:lnTo>
                <a:lnTo>
                  <a:pt x="11117907" y="6368256"/>
                </a:lnTo>
                <a:close/>
              </a:path>
              <a:path w="13852525" h="11308715">
                <a:moveTo>
                  <a:pt x="11997286" y="6723626"/>
                </a:moveTo>
                <a:lnTo>
                  <a:pt x="11986744" y="6723856"/>
                </a:lnTo>
                <a:lnTo>
                  <a:pt x="11997215" y="6723856"/>
                </a:lnTo>
                <a:lnTo>
                  <a:pt x="11997286" y="6723626"/>
                </a:lnTo>
                <a:close/>
              </a:path>
              <a:path w="13852525" h="11308715">
                <a:moveTo>
                  <a:pt x="12569146" y="6711156"/>
                </a:moveTo>
                <a:lnTo>
                  <a:pt x="11997286" y="6723626"/>
                </a:lnTo>
                <a:lnTo>
                  <a:pt x="11997215" y="6723856"/>
                </a:lnTo>
                <a:lnTo>
                  <a:pt x="12561304" y="6723856"/>
                </a:lnTo>
                <a:lnTo>
                  <a:pt x="12569146" y="6711156"/>
                </a:lnTo>
                <a:close/>
              </a:path>
              <a:path w="13852525" h="11308715">
                <a:moveTo>
                  <a:pt x="5524355" y="6647656"/>
                </a:moveTo>
                <a:lnTo>
                  <a:pt x="5518683" y="6653162"/>
                </a:lnTo>
                <a:lnTo>
                  <a:pt x="5531297" y="6660356"/>
                </a:lnTo>
                <a:lnTo>
                  <a:pt x="5524355" y="6647656"/>
                </a:lnTo>
                <a:close/>
              </a:path>
              <a:path w="13852525" h="11308715">
                <a:moveTo>
                  <a:pt x="5760427" y="6647656"/>
                </a:moveTo>
                <a:lnTo>
                  <a:pt x="5524355" y="6647656"/>
                </a:lnTo>
                <a:lnTo>
                  <a:pt x="5531297" y="6660356"/>
                </a:lnTo>
                <a:lnTo>
                  <a:pt x="5737997" y="6660356"/>
                </a:lnTo>
                <a:lnTo>
                  <a:pt x="5760427" y="6647656"/>
                </a:lnTo>
                <a:close/>
              </a:path>
              <a:path w="13852525" h="11308715">
                <a:moveTo>
                  <a:pt x="6424317" y="5606831"/>
                </a:moveTo>
                <a:lnTo>
                  <a:pt x="5657293" y="5809456"/>
                </a:lnTo>
                <a:lnTo>
                  <a:pt x="5922374" y="6063456"/>
                </a:lnTo>
                <a:lnTo>
                  <a:pt x="5916343" y="6063456"/>
                </a:lnTo>
                <a:lnTo>
                  <a:pt x="5197244" y="6469856"/>
                </a:lnTo>
                <a:lnTo>
                  <a:pt x="5518683" y="6653162"/>
                </a:lnTo>
                <a:lnTo>
                  <a:pt x="5524355" y="6647656"/>
                </a:lnTo>
                <a:lnTo>
                  <a:pt x="5760427" y="6647656"/>
                </a:lnTo>
                <a:lnTo>
                  <a:pt x="6253903" y="6368256"/>
                </a:lnTo>
                <a:lnTo>
                  <a:pt x="11117907" y="6368256"/>
                </a:lnTo>
                <a:lnTo>
                  <a:pt x="11142323" y="6266656"/>
                </a:lnTo>
                <a:lnTo>
                  <a:pt x="6296677" y="6266656"/>
                </a:lnTo>
                <a:lnTo>
                  <a:pt x="6063354" y="6139656"/>
                </a:lnTo>
                <a:lnTo>
                  <a:pt x="6663200" y="5987256"/>
                </a:lnTo>
                <a:lnTo>
                  <a:pt x="10839816" y="5987256"/>
                </a:lnTo>
                <a:lnTo>
                  <a:pt x="10837873" y="5898356"/>
                </a:lnTo>
                <a:lnTo>
                  <a:pt x="6728318" y="5898356"/>
                </a:lnTo>
                <a:lnTo>
                  <a:pt x="6543162" y="5720556"/>
                </a:lnTo>
                <a:lnTo>
                  <a:pt x="7526064" y="5720556"/>
                </a:lnTo>
                <a:lnTo>
                  <a:pt x="7221518" y="5657056"/>
                </a:lnTo>
                <a:lnTo>
                  <a:pt x="7199043" y="5618956"/>
                </a:lnTo>
                <a:lnTo>
                  <a:pt x="6431280" y="5618956"/>
                </a:lnTo>
                <a:lnTo>
                  <a:pt x="6424317" y="5606831"/>
                </a:lnTo>
                <a:close/>
              </a:path>
              <a:path w="13852525" h="11308715">
                <a:moveTo>
                  <a:pt x="2818762" y="5961856"/>
                </a:moveTo>
                <a:lnTo>
                  <a:pt x="1879251" y="6596856"/>
                </a:lnTo>
                <a:lnTo>
                  <a:pt x="2080439" y="6634956"/>
                </a:lnTo>
                <a:lnTo>
                  <a:pt x="3019960" y="5999956"/>
                </a:lnTo>
                <a:lnTo>
                  <a:pt x="2818762" y="5961856"/>
                </a:lnTo>
                <a:close/>
              </a:path>
              <a:path w="13852525" h="11308715">
                <a:moveTo>
                  <a:pt x="13512185" y="5123656"/>
                </a:moveTo>
                <a:lnTo>
                  <a:pt x="12850645" y="5326856"/>
                </a:lnTo>
                <a:lnTo>
                  <a:pt x="12369675" y="6634956"/>
                </a:lnTo>
                <a:lnTo>
                  <a:pt x="13031205" y="6431756"/>
                </a:lnTo>
                <a:lnTo>
                  <a:pt x="13512185" y="5123656"/>
                </a:lnTo>
                <a:close/>
              </a:path>
              <a:path w="13852525" h="11308715">
                <a:moveTo>
                  <a:pt x="2142343" y="5784056"/>
                </a:moveTo>
                <a:lnTo>
                  <a:pt x="1121683" y="6431756"/>
                </a:lnTo>
                <a:lnTo>
                  <a:pt x="1243888" y="6457156"/>
                </a:lnTo>
                <a:lnTo>
                  <a:pt x="2264569" y="5809456"/>
                </a:lnTo>
                <a:lnTo>
                  <a:pt x="2142343" y="5784056"/>
                </a:lnTo>
                <a:close/>
              </a:path>
              <a:path w="13852525" h="11308715">
                <a:moveTo>
                  <a:pt x="5331094" y="5733256"/>
                </a:moveTo>
                <a:lnTo>
                  <a:pt x="4534301" y="6126956"/>
                </a:lnTo>
                <a:lnTo>
                  <a:pt x="4916153" y="6330156"/>
                </a:lnTo>
                <a:lnTo>
                  <a:pt x="5712935" y="5936456"/>
                </a:lnTo>
                <a:lnTo>
                  <a:pt x="5331094" y="5733256"/>
                </a:lnTo>
                <a:close/>
              </a:path>
              <a:path w="13852525" h="11308715">
                <a:moveTo>
                  <a:pt x="13851902" y="5530056"/>
                </a:moveTo>
                <a:lnTo>
                  <a:pt x="13523546" y="6304756"/>
                </a:lnTo>
                <a:lnTo>
                  <a:pt x="13851902" y="6203156"/>
                </a:lnTo>
                <a:lnTo>
                  <a:pt x="13851902" y="5530056"/>
                </a:lnTo>
                <a:close/>
              </a:path>
              <a:path w="13852525" h="11308715">
                <a:moveTo>
                  <a:pt x="1509179" y="5618956"/>
                </a:moveTo>
                <a:lnTo>
                  <a:pt x="1465955" y="5618956"/>
                </a:lnTo>
                <a:lnTo>
                  <a:pt x="364135" y="6266656"/>
                </a:lnTo>
                <a:lnTo>
                  <a:pt x="407359" y="6266656"/>
                </a:lnTo>
                <a:lnTo>
                  <a:pt x="1509179" y="5618956"/>
                </a:lnTo>
                <a:close/>
              </a:path>
              <a:path w="13852525" h="11308715">
                <a:moveTo>
                  <a:pt x="11840169" y="4882356"/>
                </a:moveTo>
                <a:lnTo>
                  <a:pt x="11137440" y="4882356"/>
                </a:lnTo>
                <a:lnTo>
                  <a:pt x="11093704" y="5898356"/>
                </a:lnTo>
                <a:lnTo>
                  <a:pt x="10839816" y="5987256"/>
                </a:lnTo>
                <a:lnTo>
                  <a:pt x="6663200" y="5987256"/>
                </a:lnTo>
                <a:lnTo>
                  <a:pt x="6742904" y="6126956"/>
                </a:lnTo>
                <a:lnTo>
                  <a:pt x="6296677" y="6266656"/>
                </a:lnTo>
                <a:lnTo>
                  <a:pt x="11142323" y="6266656"/>
                </a:lnTo>
                <a:lnTo>
                  <a:pt x="11197261" y="6038056"/>
                </a:lnTo>
                <a:lnTo>
                  <a:pt x="11571134" y="5809456"/>
                </a:lnTo>
                <a:lnTo>
                  <a:pt x="12278779" y="5809456"/>
                </a:lnTo>
                <a:lnTo>
                  <a:pt x="12321796" y="5669756"/>
                </a:lnTo>
                <a:lnTo>
                  <a:pt x="11797054" y="5669756"/>
                </a:lnTo>
                <a:lnTo>
                  <a:pt x="11806857" y="5666748"/>
                </a:lnTo>
                <a:lnTo>
                  <a:pt x="11840169" y="4882356"/>
                </a:lnTo>
                <a:close/>
              </a:path>
              <a:path w="13852525" h="11308715">
                <a:moveTo>
                  <a:pt x="4745855" y="5390356"/>
                </a:moveTo>
                <a:lnTo>
                  <a:pt x="3871369" y="5784056"/>
                </a:lnTo>
                <a:lnTo>
                  <a:pt x="4184595" y="5949156"/>
                </a:lnTo>
                <a:lnTo>
                  <a:pt x="5059081" y="5568156"/>
                </a:lnTo>
                <a:lnTo>
                  <a:pt x="4745855" y="5390356"/>
                </a:lnTo>
                <a:close/>
              </a:path>
              <a:path w="13852525" h="11308715">
                <a:moveTo>
                  <a:pt x="7526064" y="5720556"/>
                </a:moveTo>
                <a:lnTo>
                  <a:pt x="7139688" y="5720556"/>
                </a:lnTo>
                <a:lnTo>
                  <a:pt x="7179875" y="5872956"/>
                </a:lnTo>
                <a:lnTo>
                  <a:pt x="6728318" y="5898356"/>
                </a:lnTo>
                <a:lnTo>
                  <a:pt x="10837873" y="5898356"/>
                </a:lnTo>
                <a:lnTo>
                  <a:pt x="10834542" y="5745956"/>
                </a:lnTo>
                <a:lnTo>
                  <a:pt x="7647882" y="5745956"/>
                </a:lnTo>
                <a:lnTo>
                  <a:pt x="7526064" y="5720556"/>
                </a:lnTo>
                <a:close/>
              </a:path>
              <a:path w="13852525" h="11308715">
                <a:moveTo>
                  <a:pt x="7709259" y="5441156"/>
                </a:moveTo>
                <a:lnTo>
                  <a:pt x="7094160" y="5441156"/>
                </a:lnTo>
                <a:lnTo>
                  <a:pt x="7647651" y="5593556"/>
                </a:lnTo>
                <a:lnTo>
                  <a:pt x="7647882" y="5745956"/>
                </a:lnTo>
                <a:lnTo>
                  <a:pt x="10834542" y="5745956"/>
                </a:lnTo>
                <a:lnTo>
                  <a:pt x="10831212" y="5593556"/>
                </a:lnTo>
                <a:lnTo>
                  <a:pt x="7807228" y="5593556"/>
                </a:lnTo>
                <a:lnTo>
                  <a:pt x="7739743" y="5555456"/>
                </a:lnTo>
                <a:lnTo>
                  <a:pt x="7709259" y="5441156"/>
                </a:lnTo>
                <a:close/>
              </a:path>
              <a:path w="13852525" h="11308715">
                <a:moveTo>
                  <a:pt x="11806857" y="5666748"/>
                </a:moveTo>
                <a:lnTo>
                  <a:pt x="11797054" y="5669756"/>
                </a:lnTo>
                <a:lnTo>
                  <a:pt x="11806729" y="5669756"/>
                </a:lnTo>
                <a:lnTo>
                  <a:pt x="11806857" y="5666748"/>
                </a:lnTo>
                <a:close/>
              </a:path>
              <a:path w="13852525" h="11308715">
                <a:moveTo>
                  <a:pt x="12376544" y="5491956"/>
                </a:moveTo>
                <a:lnTo>
                  <a:pt x="11806857" y="5666748"/>
                </a:lnTo>
                <a:lnTo>
                  <a:pt x="11806729" y="5669756"/>
                </a:lnTo>
                <a:lnTo>
                  <a:pt x="12321796" y="5669756"/>
                </a:lnTo>
                <a:lnTo>
                  <a:pt x="12376544" y="5491956"/>
                </a:lnTo>
                <a:close/>
              </a:path>
              <a:path w="13852525" h="11308715">
                <a:moveTo>
                  <a:pt x="6426495" y="5606256"/>
                </a:moveTo>
                <a:lnTo>
                  <a:pt x="6424317" y="5606831"/>
                </a:lnTo>
                <a:lnTo>
                  <a:pt x="6431280" y="5618956"/>
                </a:lnTo>
                <a:lnTo>
                  <a:pt x="6426495" y="5606256"/>
                </a:lnTo>
                <a:close/>
              </a:path>
              <a:path w="13852525" h="11308715">
                <a:moveTo>
                  <a:pt x="7191551" y="5606256"/>
                </a:moveTo>
                <a:lnTo>
                  <a:pt x="6426495" y="5606256"/>
                </a:lnTo>
                <a:lnTo>
                  <a:pt x="6431280" y="5618956"/>
                </a:lnTo>
                <a:lnTo>
                  <a:pt x="7199043" y="5618956"/>
                </a:lnTo>
                <a:lnTo>
                  <a:pt x="7191551" y="5606256"/>
                </a:lnTo>
                <a:close/>
              </a:path>
              <a:path w="13852525" h="11308715">
                <a:moveTo>
                  <a:pt x="7013797" y="5301456"/>
                </a:moveTo>
                <a:lnTo>
                  <a:pt x="6248940" y="5301456"/>
                </a:lnTo>
                <a:lnTo>
                  <a:pt x="6424317" y="5606831"/>
                </a:lnTo>
                <a:lnTo>
                  <a:pt x="6426495" y="5606256"/>
                </a:lnTo>
                <a:lnTo>
                  <a:pt x="7191551" y="5606256"/>
                </a:lnTo>
                <a:lnTo>
                  <a:pt x="7094160" y="5441156"/>
                </a:lnTo>
                <a:lnTo>
                  <a:pt x="7709259" y="5441156"/>
                </a:lnTo>
                <a:lnTo>
                  <a:pt x="7675389" y="5314156"/>
                </a:lnTo>
                <a:lnTo>
                  <a:pt x="7017210" y="5314156"/>
                </a:lnTo>
                <a:lnTo>
                  <a:pt x="7013797" y="5301456"/>
                </a:lnTo>
                <a:close/>
              </a:path>
              <a:path w="13852525" h="11308715">
                <a:moveTo>
                  <a:pt x="5966362" y="5149056"/>
                </a:moveTo>
                <a:lnTo>
                  <a:pt x="5127917" y="5314156"/>
                </a:lnTo>
                <a:lnTo>
                  <a:pt x="5431122" y="5606256"/>
                </a:lnTo>
                <a:lnTo>
                  <a:pt x="6269568" y="5441156"/>
                </a:lnTo>
                <a:lnTo>
                  <a:pt x="5966362" y="5149056"/>
                </a:lnTo>
                <a:close/>
              </a:path>
              <a:path w="13852525" h="11308715">
                <a:moveTo>
                  <a:pt x="10824828" y="5301456"/>
                </a:moveTo>
                <a:lnTo>
                  <a:pt x="7013912" y="5301456"/>
                </a:lnTo>
                <a:lnTo>
                  <a:pt x="7017210" y="5314156"/>
                </a:lnTo>
                <a:lnTo>
                  <a:pt x="7675389" y="5314156"/>
                </a:lnTo>
                <a:lnTo>
                  <a:pt x="7851561" y="5428456"/>
                </a:lnTo>
                <a:lnTo>
                  <a:pt x="7807228" y="5593556"/>
                </a:lnTo>
                <a:lnTo>
                  <a:pt x="10831212" y="5593556"/>
                </a:lnTo>
                <a:lnTo>
                  <a:pt x="10824828" y="5301456"/>
                </a:lnTo>
                <a:close/>
              </a:path>
              <a:path w="13852525" h="11308715">
                <a:moveTo>
                  <a:pt x="4160606" y="5060156"/>
                </a:moveTo>
                <a:lnTo>
                  <a:pt x="3208425" y="5428456"/>
                </a:lnTo>
                <a:lnTo>
                  <a:pt x="3453025" y="5568156"/>
                </a:lnTo>
                <a:lnTo>
                  <a:pt x="4405227" y="5187156"/>
                </a:lnTo>
                <a:lnTo>
                  <a:pt x="4160606" y="5060156"/>
                </a:lnTo>
                <a:close/>
              </a:path>
              <a:path w="13852525" h="11308715">
                <a:moveTo>
                  <a:pt x="12906926" y="3688556"/>
                </a:moveTo>
                <a:lnTo>
                  <a:pt x="12296149" y="4056856"/>
                </a:lnTo>
                <a:lnTo>
                  <a:pt x="12157399" y="5479256"/>
                </a:lnTo>
                <a:lnTo>
                  <a:pt x="12768176" y="5098256"/>
                </a:lnTo>
                <a:lnTo>
                  <a:pt x="12906926" y="3688556"/>
                </a:lnTo>
                <a:close/>
              </a:path>
              <a:path w="13852525" h="11308715">
                <a:moveTo>
                  <a:pt x="6925066" y="4971256"/>
                </a:moveTo>
                <a:lnTo>
                  <a:pt x="7017210" y="5314156"/>
                </a:lnTo>
                <a:lnTo>
                  <a:pt x="7013912" y="5301456"/>
                </a:lnTo>
                <a:lnTo>
                  <a:pt x="10824828" y="5301456"/>
                </a:lnTo>
                <a:lnTo>
                  <a:pt x="10823717" y="5250656"/>
                </a:lnTo>
                <a:lnTo>
                  <a:pt x="10448079" y="5250656"/>
                </a:lnTo>
                <a:lnTo>
                  <a:pt x="10425930" y="5174456"/>
                </a:lnTo>
                <a:lnTo>
                  <a:pt x="7634846" y="5174456"/>
                </a:lnTo>
                <a:lnTo>
                  <a:pt x="6925066" y="4971256"/>
                </a:lnTo>
                <a:close/>
              </a:path>
              <a:path w="13852525" h="11308715">
                <a:moveTo>
                  <a:pt x="11205803" y="4082256"/>
                </a:moveTo>
                <a:lnTo>
                  <a:pt x="10455922" y="4082256"/>
                </a:lnTo>
                <a:lnTo>
                  <a:pt x="10682669" y="5098256"/>
                </a:lnTo>
                <a:lnTo>
                  <a:pt x="10448079" y="5250656"/>
                </a:lnTo>
                <a:lnTo>
                  <a:pt x="10823717" y="5250656"/>
                </a:lnTo>
                <a:lnTo>
                  <a:pt x="10822885" y="5212556"/>
                </a:lnTo>
                <a:lnTo>
                  <a:pt x="11137440" y="4882356"/>
                </a:lnTo>
                <a:lnTo>
                  <a:pt x="11840169" y="4882356"/>
                </a:lnTo>
                <a:lnTo>
                  <a:pt x="11848798" y="4679156"/>
                </a:lnTo>
                <a:lnTo>
                  <a:pt x="11327529" y="4679156"/>
                </a:lnTo>
                <a:lnTo>
                  <a:pt x="11335665" y="4666456"/>
                </a:lnTo>
                <a:lnTo>
                  <a:pt x="11205803" y="4082256"/>
                </a:lnTo>
                <a:close/>
              </a:path>
              <a:path w="13852525" h="11308715">
                <a:moveTo>
                  <a:pt x="3575367" y="4729956"/>
                </a:moveTo>
                <a:lnTo>
                  <a:pt x="2545503" y="5085556"/>
                </a:lnTo>
                <a:lnTo>
                  <a:pt x="2721508" y="5174456"/>
                </a:lnTo>
                <a:lnTo>
                  <a:pt x="3751372" y="4818856"/>
                </a:lnTo>
                <a:lnTo>
                  <a:pt x="3575367" y="4729956"/>
                </a:lnTo>
                <a:close/>
              </a:path>
              <a:path w="13852525" h="11308715">
                <a:moveTo>
                  <a:pt x="7635599" y="4831556"/>
                </a:moveTo>
                <a:lnTo>
                  <a:pt x="7636510" y="5174456"/>
                </a:lnTo>
                <a:lnTo>
                  <a:pt x="10425930" y="5174456"/>
                </a:lnTo>
                <a:lnTo>
                  <a:pt x="10381632" y="5022056"/>
                </a:lnTo>
                <a:lnTo>
                  <a:pt x="7958396" y="5022056"/>
                </a:lnTo>
                <a:lnTo>
                  <a:pt x="7635599" y="4831556"/>
                </a:lnTo>
                <a:close/>
              </a:path>
              <a:path w="13852525" h="11308715">
                <a:moveTo>
                  <a:pt x="5880899" y="4704556"/>
                </a:moveTo>
                <a:lnTo>
                  <a:pt x="6089699" y="5047456"/>
                </a:lnTo>
                <a:lnTo>
                  <a:pt x="6911307" y="5098256"/>
                </a:lnTo>
                <a:lnTo>
                  <a:pt x="6702487" y="4742656"/>
                </a:lnTo>
                <a:lnTo>
                  <a:pt x="5880899" y="4704556"/>
                </a:lnTo>
                <a:close/>
              </a:path>
              <a:path w="13852525" h="11308715">
                <a:moveTo>
                  <a:pt x="5506209" y="4679156"/>
                </a:moveTo>
                <a:lnTo>
                  <a:pt x="4598540" y="4818856"/>
                </a:lnTo>
                <a:lnTo>
                  <a:pt x="4847496" y="5060156"/>
                </a:lnTo>
                <a:lnTo>
                  <a:pt x="5755175" y="4920456"/>
                </a:lnTo>
                <a:lnTo>
                  <a:pt x="5506209" y="4679156"/>
                </a:lnTo>
                <a:close/>
              </a:path>
              <a:path w="13852525" h="11308715">
                <a:moveTo>
                  <a:pt x="7623663" y="4145756"/>
                </a:moveTo>
                <a:lnTo>
                  <a:pt x="7625328" y="4539456"/>
                </a:lnTo>
                <a:lnTo>
                  <a:pt x="8015075" y="4806156"/>
                </a:lnTo>
                <a:lnTo>
                  <a:pt x="7958396" y="5022056"/>
                </a:lnTo>
                <a:lnTo>
                  <a:pt x="10381632" y="5022056"/>
                </a:lnTo>
                <a:lnTo>
                  <a:pt x="10267195" y="4628356"/>
                </a:lnTo>
                <a:lnTo>
                  <a:pt x="9859992" y="4628356"/>
                </a:lnTo>
                <a:lnTo>
                  <a:pt x="9760072" y="4463256"/>
                </a:lnTo>
                <a:lnTo>
                  <a:pt x="8084937" y="4463256"/>
                </a:lnTo>
                <a:lnTo>
                  <a:pt x="7623663" y="4145756"/>
                </a:lnTo>
                <a:close/>
              </a:path>
              <a:path w="13852525" h="11308715">
                <a:moveTo>
                  <a:pt x="6733763" y="4310856"/>
                </a:moveTo>
                <a:lnTo>
                  <a:pt x="6839582" y="4691856"/>
                </a:lnTo>
                <a:lnTo>
                  <a:pt x="7590302" y="4945856"/>
                </a:lnTo>
                <a:lnTo>
                  <a:pt x="7484484" y="4564856"/>
                </a:lnTo>
                <a:lnTo>
                  <a:pt x="6733763" y="4310856"/>
                </a:lnTo>
                <a:close/>
              </a:path>
              <a:path w="13852525" h="11308715">
                <a:moveTo>
                  <a:pt x="13851902" y="3078956"/>
                </a:moveTo>
                <a:lnTo>
                  <a:pt x="13451318" y="3332956"/>
                </a:lnTo>
                <a:lnTo>
                  <a:pt x="13229900" y="4844256"/>
                </a:lnTo>
                <a:lnTo>
                  <a:pt x="13729634" y="4526756"/>
                </a:lnTo>
                <a:lnTo>
                  <a:pt x="13851902" y="3688556"/>
                </a:lnTo>
                <a:lnTo>
                  <a:pt x="13851902" y="3078956"/>
                </a:lnTo>
                <a:close/>
              </a:path>
              <a:path w="13852525" h="11308715">
                <a:moveTo>
                  <a:pt x="2990128" y="4387056"/>
                </a:moveTo>
                <a:lnTo>
                  <a:pt x="1882560" y="4742656"/>
                </a:lnTo>
                <a:lnTo>
                  <a:pt x="1989928" y="4793456"/>
                </a:lnTo>
                <a:lnTo>
                  <a:pt x="3097518" y="4437856"/>
                </a:lnTo>
                <a:lnTo>
                  <a:pt x="2990128" y="4387056"/>
                </a:lnTo>
                <a:close/>
              </a:path>
              <a:path w="13852525" h="11308715">
                <a:moveTo>
                  <a:pt x="11862822" y="4348956"/>
                </a:moveTo>
                <a:lnTo>
                  <a:pt x="11327529" y="4679156"/>
                </a:lnTo>
                <a:lnTo>
                  <a:pt x="11848798" y="4679156"/>
                </a:lnTo>
                <a:lnTo>
                  <a:pt x="11862822" y="4348956"/>
                </a:lnTo>
                <a:close/>
              </a:path>
              <a:path w="13852525" h="11308715">
                <a:moveTo>
                  <a:pt x="10419085" y="3472656"/>
                </a:moveTo>
                <a:lnTo>
                  <a:pt x="9559876" y="3472656"/>
                </a:lnTo>
                <a:lnTo>
                  <a:pt x="10057473" y="4412456"/>
                </a:lnTo>
                <a:lnTo>
                  <a:pt x="9859992" y="4628356"/>
                </a:lnTo>
                <a:lnTo>
                  <a:pt x="10267195" y="4628356"/>
                </a:lnTo>
                <a:lnTo>
                  <a:pt x="10226589" y="4488656"/>
                </a:lnTo>
                <a:lnTo>
                  <a:pt x="10455922" y="4082256"/>
                </a:lnTo>
                <a:lnTo>
                  <a:pt x="11205803" y="4082256"/>
                </a:lnTo>
                <a:lnTo>
                  <a:pt x="11149342" y="3828256"/>
                </a:lnTo>
                <a:lnTo>
                  <a:pt x="10594494" y="3828256"/>
                </a:lnTo>
                <a:lnTo>
                  <a:pt x="10600441" y="3815556"/>
                </a:lnTo>
                <a:lnTo>
                  <a:pt x="10419085" y="3472656"/>
                </a:lnTo>
                <a:close/>
              </a:path>
              <a:path w="13852525" h="11308715">
                <a:moveTo>
                  <a:pt x="5046076" y="4209256"/>
                </a:moveTo>
                <a:lnTo>
                  <a:pt x="4069174" y="4323556"/>
                </a:lnTo>
                <a:lnTo>
                  <a:pt x="4263849" y="4501356"/>
                </a:lnTo>
                <a:lnTo>
                  <a:pt x="5240793" y="4399756"/>
                </a:lnTo>
                <a:lnTo>
                  <a:pt x="5046076" y="4209256"/>
                </a:lnTo>
                <a:close/>
              </a:path>
              <a:path w="13852525" h="11308715">
                <a:moveTo>
                  <a:pt x="5512868" y="4094956"/>
                </a:moveTo>
                <a:lnTo>
                  <a:pt x="5684591" y="4387056"/>
                </a:lnTo>
                <a:lnTo>
                  <a:pt x="6562805" y="4475956"/>
                </a:lnTo>
                <a:lnTo>
                  <a:pt x="6391082" y="4196556"/>
                </a:lnTo>
                <a:lnTo>
                  <a:pt x="5512868" y="4094956"/>
                </a:lnTo>
                <a:close/>
              </a:path>
              <a:path w="13852525" h="11308715">
                <a:moveTo>
                  <a:pt x="7611736" y="3472656"/>
                </a:moveTo>
                <a:lnTo>
                  <a:pt x="7613820" y="3790156"/>
                </a:lnTo>
                <a:lnTo>
                  <a:pt x="8154243" y="4209256"/>
                </a:lnTo>
                <a:lnTo>
                  <a:pt x="8084937" y="4463256"/>
                </a:lnTo>
                <a:lnTo>
                  <a:pt x="9760072" y="4463256"/>
                </a:lnTo>
                <a:lnTo>
                  <a:pt x="9583289" y="4171156"/>
                </a:lnTo>
                <a:lnTo>
                  <a:pt x="9105377" y="4171156"/>
                </a:lnTo>
                <a:lnTo>
                  <a:pt x="8844315" y="3929856"/>
                </a:lnTo>
                <a:lnTo>
                  <a:pt x="8225341" y="3929856"/>
                </a:lnTo>
                <a:lnTo>
                  <a:pt x="7611736" y="3472656"/>
                </a:lnTo>
                <a:close/>
              </a:path>
              <a:path w="13852525" h="11308715">
                <a:moveTo>
                  <a:pt x="2404879" y="4056856"/>
                </a:moveTo>
                <a:lnTo>
                  <a:pt x="1219606" y="4387056"/>
                </a:lnTo>
                <a:lnTo>
                  <a:pt x="1258380" y="4412456"/>
                </a:lnTo>
                <a:lnTo>
                  <a:pt x="2443632" y="4069556"/>
                </a:lnTo>
                <a:lnTo>
                  <a:pt x="2404879" y="4056856"/>
                </a:lnTo>
                <a:close/>
              </a:path>
              <a:path w="13852525" h="11308715">
                <a:moveTo>
                  <a:pt x="11917783" y="2418556"/>
                </a:moveTo>
                <a:lnTo>
                  <a:pt x="11404218" y="2964656"/>
                </a:lnTo>
                <a:lnTo>
                  <a:pt x="11638347" y="4387056"/>
                </a:lnTo>
                <a:lnTo>
                  <a:pt x="12151912" y="3853656"/>
                </a:lnTo>
                <a:lnTo>
                  <a:pt x="11917783" y="2418556"/>
                </a:lnTo>
                <a:close/>
              </a:path>
              <a:path w="13852525" h="11308715">
                <a:moveTo>
                  <a:pt x="6542429" y="3637756"/>
                </a:moveTo>
                <a:lnTo>
                  <a:pt x="6629840" y="3955256"/>
                </a:lnTo>
                <a:lnTo>
                  <a:pt x="7421512" y="4272756"/>
                </a:lnTo>
                <a:lnTo>
                  <a:pt x="7334111" y="3955256"/>
                </a:lnTo>
                <a:lnTo>
                  <a:pt x="6542429" y="3637756"/>
                </a:lnTo>
                <a:close/>
              </a:path>
              <a:path w="13852525" h="11308715">
                <a:moveTo>
                  <a:pt x="8675913" y="2151856"/>
                </a:moveTo>
                <a:lnTo>
                  <a:pt x="8439135" y="3053556"/>
                </a:lnTo>
                <a:lnTo>
                  <a:pt x="9249467" y="3917156"/>
                </a:lnTo>
                <a:lnTo>
                  <a:pt x="9105377" y="4171156"/>
                </a:lnTo>
                <a:lnTo>
                  <a:pt x="9583289" y="4171156"/>
                </a:lnTo>
                <a:lnTo>
                  <a:pt x="9437251" y="3929856"/>
                </a:lnTo>
                <a:lnTo>
                  <a:pt x="9559876" y="3472656"/>
                </a:lnTo>
                <a:lnTo>
                  <a:pt x="10419085" y="3472656"/>
                </a:lnTo>
                <a:lnTo>
                  <a:pt x="10271313" y="3193256"/>
                </a:lnTo>
                <a:lnTo>
                  <a:pt x="9633989" y="3193256"/>
                </a:lnTo>
                <a:lnTo>
                  <a:pt x="9637151" y="3180556"/>
                </a:lnTo>
                <a:lnTo>
                  <a:pt x="8675913" y="2151856"/>
                </a:lnTo>
                <a:close/>
              </a:path>
              <a:path w="13852525" h="11308715">
                <a:moveTo>
                  <a:pt x="4585933" y="3739356"/>
                </a:moveTo>
                <a:lnTo>
                  <a:pt x="3539797" y="3828256"/>
                </a:lnTo>
                <a:lnTo>
                  <a:pt x="3680254" y="3955256"/>
                </a:lnTo>
                <a:lnTo>
                  <a:pt x="4726390" y="3879056"/>
                </a:lnTo>
                <a:lnTo>
                  <a:pt x="4585933" y="3739356"/>
                </a:lnTo>
                <a:close/>
              </a:path>
              <a:path w="13852525" h="11308715">
                <a:moveTo>
                  <a:pt x="8349672" y="3472656"/>
                </a:moveTo>
                <a:lnTo>
                  <a:pt x="8225341" y="3929856"/>
                </a:lnTo>
                <a:lnTo>
                  <a:pt x="8844315" y="3929856"/>
                </a:lnTo>
                <a:lnTo>
                  <a:pt x="8349672" y="3472656"/>
                </a:lnTo>
                <a:close/>
              </a:path>
              <a:path w="13852525" h="11308715">
                <a:moveTo>
                  <a:pt x="5144827" y="3485356"/>
                </a:moveTo>
                <a:lnTo>
                  <a:pt x="5279462" y="3713956"/>
                </a:lnTo>
                <a:lnTo>
                  <a:pt x="6214302" y="3853656"/>
                </a:lnTo>
                <a:lnTo>
                  <a:pt x="6079668" y="3637756"/>
                </a:lnTo>
                <a:lnTo>
                  <a:pt x="5144827" y="3485356"/>
                </a:lnTo>
                <a:close/>
              </a:path>
              <a:path w="13852525" h="11308715">
                <a:moveTo>
                  <a:pt x="11044888" y="3358356"/>
                </a:moveTo>
                <a:lnTo>
                  <a:pt x="10594494" y="3828256"/>
                </a:lnTo>
                <a:lnTo>
                  <a:pt x="11149342" y="3828256"/>
                </a:lnTo>
                <a:lnTo>
                  <a:pt x="11044888" y="3358356"/>
                </a:lnTo>
                <a:close/>
              </a:path>
              <a:path w="13852525" h="11308715">
                <a:moveTo>
                  <a:pt x="7599810" y="2786856"/>
                </a:moveTo>
                <a:lnTo>
                  <a:pt x="7602313" y="3040856"/>
                </a:lnTo>
                <a:lnTo>
                  <a:pt x="8282857" y="3612356"/>
                </a:lnTo>
                <a:lnTo>
                  <a:pt x="8280355" y="3358356"/>
                </a:lnTo>
                <a:lnTo>
                  <a:pt x="7599810" y="2786856"/>
                </a:lnTo>
                <a:close/>
              </a:path>
              <a:path w="13852525" h="11308715">
                <a:moveTo>
                  <a:pt x="6351115" y="2977356"/>
                </a:moveTo>
                <a:lnTo>
                  <a:pt x="6420118" y="3218656"/>
                </a:lnTo>
                <a:lnTo>
                  <a:pt x="7252732" y="3599656"/>
                </a:lnTo>
                <a:lnTo>
                  <a:pt x="7183739" y="3345656"/>
                </a:lnTo>
                <a:lnTo>
                  <a:pt x="6351115" y="2977356"/>
                </a:lnTo>
                <a:close/>
              </a:path>
              <a:path w="13852525" h="11308715">
                <a:moveTo>
                  <a:pt x="12790678" y="1491456"/>
                </a:moveTo>
                <a:lnTo>
                  <a:pt x="12370890" y="1923256"/>
                </a:lnTo>
                <a:lnTo>
                  <a:pt x="12548382" y="3472656"/>
                </a:lnTo>
                <a:lnTo>
                  <a:pt x="12968181" y="3040856"/>
                </a:lnTo>
                <a:lnTo>
                  <a:pt x="12790678" y="1491456"/>
                </a:lnTo>
                <a:close/>
              </a:path>
              <a:path w="13852525" h="11308715">
                <a:moveTo>
                  <a:pt x="10591646" y="1453356"/>
                </a:moveTo>
                <a:lnTo>
                  <a:pt x="10217657" y="2113756"/>
                </a:lnTo>
                <a:lnTo>
                  <a:pt x="10830727" y="3459956"/>
                </a:lnTo>
                <a:lnTo>
                  <a:pt x="11204716" y="2799556"/>
                </a:lnTo>
                <a:lnTo>
                  <a:pt x="10591646" y="1453356"/>
                </a:lnTo>
                <a:close/>
              </a:path>
              <a:path w="13852525" h="11308715">
                <a:moveTo>
                  <a:pt x="4125801" y="3282156"/>
                </a:moveTo>
                <a:lnTo>
                  <a:pt x="3010421" y="3332956"/>
                </a:lnTo>
                <a:lnTo>
                  <a:pt x="3096628" y="3409156"/>
                </a:lnTo>
                <a:lnTo>
                  <a:pt x="4212018" y="3358356"/>
                </a:lnTo>
                <a:lnTo>
                  <a:pt x="4125801" y="3282156"/>
                </a:lnTo>
                <a:close/>
              </a:path>
              <a:path w="13852525" h="11308715">
                <a:moveTo>
                  <a:pt x="4776796" y="2888456"/>
                </a:moveTo>
                <a:lnTo>
                  <a:pt x="4874343" y="3040856"/>
                </a:lnTo>
                <a:lnTo>
                  <a:pt x="5865810" y="3231356"/>
                </a:lnTo>
                <a:lnTo>
                  <a:pt x="5768264" y="3078956"/>
                </a:lnTo>
                <a:lnTo>
                  <a:pt x="4776796" y="2888456"/>
                </a:lnTo>
                <a:close/>
              </a:path>
              <a:path w="13852525" h="11308715">
                <a:moveTo>
                  <a:pt x="9962335" y="2609056"/>
                </a:moveTo>
                <a:lnTo>
                  <a:pt x="9633989" y="3193256"/>
                </a:lnTo>
                <a:lnTo>
                  <a:pt x="10271313" y="3193256"/>
                </a:lnTo>
                <a:lnTo>
                  <a:pt x="9962335" y="2609056"/>
                </a:lnTo>
                <a:close/>
              </a:path>
              <a:path w="13852525" h="11308715">
                <a:moveTo>
                  <a:pt x="7587884" y="2113756"/>
                </a:moveTo>
                <a:lnTo>
                  <a:pt x="7590805" y="2291556"/>
                </a:lnTo>
                <a:lnTo>
                  <a:pt x="8294784" y="2926556"/>
                </a:lnTo>
                <a:lnTo>
                  <a:pt x="8291862" y="2736056"/>
                </a:lnTo>
                <a:lnTo>
                  <a:pt x="7587884" y="2113756"/>
                </a:lnTo>
                <a:close/>
              </a:path>
              <a:path w="13852525" h="11308715">
                <a:moveTo>
                  <a:pt x="6159801" y="2304256"/>
                </a:moveTo>
                <a:lnTo>
                  <a:pt x="6210376" y="2482056"/>
                </a:lnTo>
                <a:lnTo>
                  <a:pt x="7083951" y="2913856"/>
                </a:lnTo>
                <a:lnTo>
                  <a:pt x="7033366" y="2736056"/>
                </a:lnTo>
                <a:lnTo>
                  <a:pt x="6159801" y="2304256"/>
                </a:lnTo>
                <a:close/>
              </a:path>
              <a:path w="13852525" h="11308715">
                <a:moveTo>
                  <a:pt x="3665658" y="2812256"/>
                </a:moveTo>
                <a:lnTo>
                  <a:pt x="2481055" y="2837656"/>
                </a:lnTo>
                <a:lnTo>
                  <a:pt x="2512981" y="2863056"/>
                </a:lnTo>
                <a:lnTo>
                  <a:pt x="3697615" y="2837656"/>
                </a:lnTo>
                <a:lnTo>
                  <a:pt x="3665658" y="2812256"/>
                </a:lnTo>
                <a:close/>
              </a:path>
              <a:path w="13852525" h="11308715">
                <a:moveTo>
                  <a:pt x="9002134" y="843756"/>
                </a:moveTo>
                <a:lnTo>
                  <a:pt x="8802779" y="1605756"/>
                </a:lnTo>
                <a:lnTo>
                  <a:pt x="9774309" y="2761456"/>
                </a:lnTo>
                <a:lnTo>
                  <a:pt x="9973675" y="2012156"/>
                </a:lnTo>
                <a:lnTo>
                  <a:pt x="9002134" y="843756"/>
                </a:lnTo>
                <a:close/>
              </a:path>
              <a:path w="13852525" h="11308715">
                <a:moveTo>
                  <a:pt x="4408755" y="2278856"/>
                </a:moveTo>
                <a:lnTo>
                  <a:pt x="4469235" y="2380456"/>
                </a:lnTo>
                <a:lnTo>
                  <a:pt x="5517318" y="2609056"/>
                </a:lnTo>
                <a:lnTo>
                  <a:pt x="5456849" y="2520156"/>
                </a:lnTo>
                <a:lnTo>
                  <a:pt x="4408755" y="2278856"/>
                </a:lnTo>
                <a:close/>
              </a:path>
              <a:path w="13852525" h="11308715">
                <a:moveTo>
                  <a:pt x="11220946" y="284956"/>
                </a:moveTo>
                <a:lnTo>
                  <a:pt x="10915740" y="843756"/>
                </a:lnTo>
                <a:lnTo>
                  <a:pt x="11503785" y="2316956"/>
                </a:lnTo>
                <a:lnTo>
                  <a:pt x="11808991" y="1770856"/>
                </a:lnTo>
                <a:lnTo>
                  <a:pt x="11220946" y="284956"/>
                </a:lnTo>
                <a:close/>
              </a:path>
              <a:path w="13852525" h="11308715">
                <a:moveTo>
                  <a:pt x="5968477" y="1643856"/>
                </a:moveTo>
                <a:lnTo>
                  <a:pt x="6000644" y="1745456"/>
                </a:lnTo>
                <a:lnTo>
                  <a:pt x="6915171" y="2240756"/>
                </a:lnTo>
                <a:lnTo>
                  <a:pt x="6883015" y="2126456"/>
                </a:lnTo>
                <a:lnTo>
                  <a:pt x="5968477" y="1643856"/>
                </a:lnTo>
                <a:close/>
              </a:path>
              <a:path w="13852525" h="11308715">
                <a:moveTo>
                  <a:pt x="7575968" y="1427956"/>
                </a:moveTo>
                <a:lnTo>
                  <a:pt x="7579298" y="1542256"/>
                </a:lnTo>
                <a:lnTo>
                  <a:pt x="8306699" y="2240756"/>
                </a:lnTo>
                <a:lnTo>
                  <a:pt x="8303370" y="2126456"/>
                </a:lnTo>
                <a:lnTo>
                  <a:pt x="7575968" y="1427956"/>
                </a:lnTo>
                <a:close/>
              </a:path>
              <a:path w="13852525" h="11308715">
                <a:moveTo>
                  <a:pt x="4040735" y="1669256"/>
                </a:moveTo>
                <a:lnTo>
                  <a:pt x="4064096" y="1707356"/>
                </a:lnTo>
                <a:lnTo>
                  <a:pt x="5168826" y="1986756"/>
                </a:lnTo>
                <a:lnTo>
                  <a:pt x="5145445" y="1961356"/>
                </a:lnTo>
                <a:lnTo>
                  <a:pt x="4040735" y="1669256"/>
                </a:lnTo>
                <a:close/>
              </a:path>
              <a:path w="13852525" h="11308715">
                <a:moveTo>
                  <a:pt x="5777164" y="970756"/>
                </a:moveTo>
                <a:lnTo>
                  <a:pt x="5790923" y="1008856"/>
                </a:lnTo>
                <a:lnTo>
                  <a:pt x="6746391" y="1554956"/>
                </a:lnTo>
                <a:lnTo>
                  <a:pt x="6732643" y="1529556"/>
                </a:lnTo>
                <a:lnTo>
                  <a:pt x="5777164" y="970756"/>
                </a:lnTo>
                <a:close/>
              </a:path>
              <a:path w="13852525" h="11308715">
                <a:moveTo>
                  <a:pt x="7564041" y="754856"/>
                </a:moveTo>
                <a:lnTo>
                  <a:pt x="7567790" y="792956"/>
                </a:lnTo>
                <a:lnTo>
                  <a:pt x="8318636" y="1554956"/>
                </a:lnTo>
                <a:lnTo>
                  <a:pt x="8314888" y="1516856"/>
                </a:lnTo>
                <a:lnTo>
                  <a:pt x="7564041" y="754856"/>
                </a:lnTo>
                <a:close/>
              </a:path>
              <a:path w="13852525" h="11308715">
                <a:moveTo>
                  <a:pt x="9684684" y="5556"/>
                </a:moveTo>
                <a:lnTo>
                  <a:pt x="9205378" y="5556"/>
                </a:lnTo>
                <a:lnTo>
                  <a:pt x="9166401" y="157956"/>
                </a:lnTo>
                <a:lnTo>
                  <a:pt x="10148214" y="1453356"/>
                </a:lnTo>
                <a:lnTo>
                  <a:pt x="10310167" y="831056"/>
                </a:lnTo>
                <a:lnTo>
                  <a:pt x="9684684" y="5556"/>
                </a:lnTo>
                <a:close/>
              </a:path>
              <a:path w="13852525" h="11308715">
                <a:moveTo>
                  <a:pt x="12155392" y="5556"/>
                </a:moveTo>
                <a:lnTo>
                  <a:pt x="11769899" y="5556"/>
                </a:lnTo>
                <a:lnTo>
                  <a:pt x="12176843" y="1173956"/>
                </a:lnTo>
                <a:lnTo>
                  <a:pt x="12413266" y="742156"/>
                </a:lnTo>
                <a:lnTo>
                  <a:pt x="12155392" y="5556"/>
                </a:lnTo>
                <a:close/>
              </a:path>
              <a:path w="13852525" h="11308715">
                <a:moveTo>
                  <a:pt x="10558529" y="5556"/>
                </a:moveTo>
                <a:lnTo>
                  <a:pt x="10424416" y="5556"/>
                </a:lnTo>
                <a:lnTo>
                  <a:pt x="10522108" y="145256"/>
                </a:lnTo>
                <a:lnTo>
                  <a:pt x="10558529" y="5556"/>
                </a:lnTo>
                <a:close/>
              </a:path>
            </a:pathLst>
          </a:custGeom>
          <a:solidFill>
            <a:srgbClr val="1A0F5C">
              <a:alpha val="5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FDD0999-C447-FB95-885F-11AEB8E057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908" y="1714110"/>
            <a:ext cx="1840546" cy="610478"/>
          </a:xfrm>
          <a:prstGeom prst="rect">
            <a:avLst/>
          </a:prstGeom>
        </p:spPr>
      </p:pic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DC24F3DB-1C67-3622-FAE0-8AF492597E0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411629" y="5850238"/>
            <a:ext cx="2396464" cy="63286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41F2785-160F-B7C5-6AF4-70ED0AFEB08D}"/>
              </a:ext>
            </a:extLst>
          </p:cNvPr>
          <p:cNvSpPr txBox="1"/>
          <p:nvPr userDrawn="1"/>
        </p:nvSpPr>
        <p:spPr>
          <a:xfrm>
            <a:off x="383907" y="6267664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mangroup.com</a:t>
            </a:r>
            <a:endParaRPr lang="en-GB" sz="800" spc="55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82049909-1FC0-40F2-80E1-1EF4D7871D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3908" y="4082988"/>
            <a:ext cx="3519877" cy="3385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B7F836BE-7851-4A5D-A109-BC018719A3C9}" type="datetime3">
              <a:rPr lang="en-US" smtClean="0"/>
              <a:t>23 September 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376145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ty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21D9686-D61C-E3FA-D9D1-21E3EC958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770FB51-6B1D-43B0-AAAF-B8BCEABF36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00" y="1749425"/>
            <a:ext cx="2880000" cy="504000"/>
          </a:xfrm>
          <a:prstGeom prst="parallelogram">
            <a:avLst/>
          </a:prstGeom>
          <a:solidFill>
            <a:schemeClr val="bg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 i="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ED6BD6F-3D42-44DD-B3DF-271B085640E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1000" y="2350632"/>
            <a:ext cx="2743200" cy="806407"/>
          </a:xfrm>
        </p:spPr>
        <p:txBody>
          <a:bodyPr anchor="ctr">
            <a:noAutofit/>
          </a:bodyPr>
          <a:lstStyle>
            <a:lvl1pPr>
              <a:defRPr lang="en-GB" sz="1200" b="1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AE43DB4-051C-4304-9631-9084EA035E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210262" y="2350632"/>
            <a:ext cx="8472803" cy="806407"/>
          </a:xfrm>
        </p:spPr>
        <p:txBody>
          <a:bodyPr anchor="ctr">
            <a:noAutofit/>
          </a:bodyPr>
          <a:lstStyle>
            <a:lvl1pPr marL="228600" indent="-228600">
              <a:defRPr lang="en-GB" sz="1200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28600" indent="-228600">
              <a:defRPr/>
            </a:lvl2pPr>
            <a:lvl3pPr marL="228600" indent="-228600">
              <a:defRPr/>
            </a:lvl3pPr>
            <a:lvl4pPr marL="228600" indent="-228600">
              <a:defRPr/>
            </a:lvl4pPr>
            <a:lvl5pPr marL="228600" indent="-228600"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90544517-A048-40DF-932A-B75E18619A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0" y="3351453"/>
            <a:ext cx="2743200" cy="806407"/>
          </a:xfrm>
        </p:spPr>
        <p:txBody>
          <a:bodyPr anchor="ctr">
            <a:noAutofit/>
          </a:bodyPr>
          <a:lstStyle>
            <a:lvl1pPr>
              <a:defRPr lang="en-GB" sz="1200" b="1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9347B8D2-A3BC-46D3-B7D9-A5AB1CA5E6F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210262" y="3351453"/>
            <a:ext cx="8472803" cy="806407"/>
          </a:xfrm>
        </p:spPr>
        <p:txBody>
          <a:bodyPr anchor="ctr">
            <a:noAutofit/>
          </a:bodyPr>
          <a:lstStyle>
            <a:lvl1pPr marL="228600" indent="-228600">
              <a:defRPr lang="en-GB" sz="1200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28600" indent="-228600">
              <a:defRPr/>
            </a:lvl2pPr>
            <a:lvl3pPr marL="228600" indent="-228600">
              <a:defRPr/>
            </a:lvl3pPr>
            <a:lvl4pPr marL="228600" indent="-228600">
              <a:defRPr/>
            </a:lvl4pPr>
            <a:lvl5pPr marL="228600" indent="-228600"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C0B73FD-94B8-46D0-A27E-A927E824AF7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1000" y="4352274"/>
            <a:ext cx="2743200" cy="806407"/>
          </a:xfrm>
        </p:spPr>
        <p:txBody>
          <a:bodyPr anchor="ctr">
            <a:noAutofit/>
          </a:bodyPr>
          <a:lstStyle>
            <a:lvl1pPr>
              <a:defRPr lang="en-GB" sz="1200" b="1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3C71A331-AA90-4DD1-A4A6-8BB65ADFF2C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210262" y="4352274"/>
            <a:ext cx="8472803" cy="806407"/>
          </a:xfrm>
        </p:spPr>
        <p:txBody>
          <a:bodyPr anchor="ctr">
            <a:noAutofit/>
          </a:bodyPr>
          <a:lstStyle>
            <a:lvl1pPr marL="228600" indent="-228600">
              <a:defRPr lang="en-GB" sz="1200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28600" indent="-228600">
              <a:defRPr/>
            </a:lvl2pPr>
            <a:lvl3pPr marL="228600" indent="-228600">
              <a:defRPr/>
            </a:lvl3pPr>
            <a:lvl4pPr marL="228600" indent="-228600">
              <a:defRPr/>
            </a:lvl4pPr>
            <a:lvl5pPr marL="228600" indent="-228600"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A14452FE-099F-4196-9B11-FB7762D34F2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81000" y="5353093"/>
            <a:ext cx="2743200" cy="806407"/>
          </a:xfrm>
        </p:spPr>
        <p:txBody>
          <a:bodyPr anchor="ctr">
            <a:noAutofit/>
          </a:bodyPr>
          <a:lstStyle>
            <a:lvl1pPr>
              <a:defRPr lang="en-GB" sz="1200" b="1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AEA2D9F8-B0E3-41C4-8EFC-C18EDA4454F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10262" y="5353093"/>
            <a:ext cx="8472803" cy="806407"/>
          </a:xfrm>
        </p:spPr>
        <p:txBody>
          <a:bodyPr anchor="ctr">
            <a:noAutofit/>
          </a:bodyPr>
          <a:lstStyle>
            <a:lvl1pPr marL="228600" indent="-228600">
              <a:defRPr lang="en-GB" sz="1200" kern="1200" baseline="0" dirty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28600" indent="-228600">
              <a:defRPr/>
            </a:lvl2pPr>
            <a:lvl3pPr marL="228600" indent="-228600">
              <a:defRPr/>
            </a:lvl3pPr>
            <a:lvl4pPr marL="228600" indent="-228600">
              <a:defRPr/>
            </a:lvl4pPr>
            <a:lvl5pPr marL="228600" indent="-228600"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AA6A895-2040-4C3E-9A1B-8C415045D378}"/>
              </a:ext>
            </a:extLst>
          </p:cNvPr>
          <p:cNvCxnSpPr>
            <a:cxnSpLocks/>
          </p:cNvCxnSpPr>
          <p:nvPr userDrawn="1"/>
        </p:nvCxnSpPr>
        <p:spPr>
          <a:xfrm>
            <a:off x="381000" y="3254246"/>
            <a:ext cx="11430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EBF287A-0B2E-4BAB-B9FC-B2A7EB6D6166}"/>
              </a:ext>
            </a:extLst>
          </p:cNvPr>
          <p:cNvCxnSpPr>
            <a:cxnSpLocks/>
          </p:cNvCxnSpPr>
          <p:nvPr userDrawn="1"/>
        </p:nvCxnSpPr>
        <p:spPr>
          <a:xfrm>
            <a:off x="381000" y="4255067"/>
            <a:ext cx="11430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B68DB3D-437D-438E-8167-4A133275C366}"/>
              </a:ext>
            </a:extLst>
          </p:cNvPr>
          <p:cNvCxnSpPr>
            <a:cxnSpLocks/>
          </p:cNvCxnSpPr>
          <p:nvPr userDrawn="1"/>
        </p:nvCxnSpPr>
        <p:spPr>
          <a:xfrm>
            <a:off x="381000" y="5255888"/>
            <a:ext cx="11430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E8E31A0D-2EED-DF92-2B80-3CF38A89AB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501CDF0-53BC-4002-9AFF-A24B6D4F243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10262" y="1749425"/>
            <a:ext cx="8600738" cy="504000"/>
          </a:xfrm>
          <a:custGeom>
            <a:avLst/>
            <a:gdLst>
              <a:gd name="connsiteX0" fmla="*/ 126000 w 8600738"/>
              <a:gd name="connsiteY0" fmla="*/ 0 h 504000"/>
              <a:gd name="connsiteX1" fmla="*/ 8600738 w 8600738"/>
              <a:gd name="connsiteY1" fmla="*/ 0 h 504000"/>
              <a:gd name="connsiteX2" fmla="*/ 8474738 w 8600738"/>
              <a:gd name="connsiteY2" fmla="*/ 504000 h 504000"/>
              <a:gd name="connsiteX3" fmla="*/ 0 w 8600738"/>
              <a:gd name="connsiteY3" fmla="*/ 504000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00738" h="504000">
                <a:moveTo>
                  <a:pt x="126000" y="0"/>
                </a:moveTo>
                <a:lnTo>
                  <a:pt x="8600738" y="0"/>
                </a:lnTo>
                <a:lnTo>
                  <a:pt x="8474738" y="504000"/>
                </a:lnTo>
                <a:lnTo>
                  <a:pt x="0" y="504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lIns="228600" tIns="45720" rIns="228600" bIns="45720" anchor="ctr">
            <a:noAutofit/>
          </a:bodyPr>
          <a:lstStyle>
            <a:lvl1pPr marL="0" indent="0" algn="l">
              <a:buNone/>
              <a:defRPr sz="1400" b="1" i="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983421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21D9686-D61C-E3FA-D9D1-21E3EC958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E1AA924-420F-3F2E-AD54-8F437A89B1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1749425"/>
            <a:ext cx="3686175" cy="504000"/>
          </a:xfrm>
          <a:prstGeom prst="parallelogram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07DFCC3D-79B1-B2C2-E5FE-DBB8CCD7D52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2912" y="1749425"/>
            <a:ext cx="3686175" cy="504000"/>
          </a:xfrm>
          <a:prstGeom prst="parallelogram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79B55756-003A-46FE-BC73-669E725E11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4825" y="1749425"/>
            <a:ext cx="3686175" cy="504000"/>
          </a:xfrm>
          <a:prstGeom prst="parallelogram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18CB7F-C49D-47F1-87E2-FE511F8332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00" y="2417977"/>
            <a:ext cx="3541321" cy="3741523"/>
          </a:xfrm>
        </p:spPr>
        <p:txBody>
          <a:bodyPr lIns="0" tIns="0" rIns="0" bIns="0">
            <a:no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7DB576C-7497-43FD-8CA9-9BB41AA914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52912" y="2417977"/>
            <a:ext cx="3541321" cy="3741523"/>
          </a:xfrm>
        </p:spPr>
        <p:txBody>
          <a:bodyPr lIns="0" tIns="0" rIns="0" bIns="0">
            <a:no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5D5D8F4-49EB-4ED6-A86D-7ACD625444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24825" y="2417977"/>
            <a:ext cx="3541321" cy="3741523"/>
          </a:xfrm>
        </p:spPr>
        <p:txBody>
          <a:bodyPr lIns="0" tIns="0" rIns="0" bIns="0">
            <a:no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53CAFF-F64F-99F3-1C15-2943F43BC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2076241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hree parts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21D9686-D61C-E3FA-D9D1-21E3EC958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8178B9-9CAB-4111-AFE4-FCD91FCB342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1000" y="1755073"/>
            <a:ext cx="3749261" cy="595140"/>
          </a:xfrm>
          <a:prstGeom prst="homePlate">
            <a:avLst>
              <a:gd name="adj" fmla="val 27594"/>
            </a:avLst>
          </a:prstGeom>
          <a:solidFill>
            <a:schemeClr val="bg2"/>
          </a:solidFill>
          <a:ln w="3175">
            <a:noFill/>
          </a:ln>
        </p:spPr>
        <p:txBody>
          <a:bodyPr lIns="64008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E43C7D5-1AE2-4969-8D61-6E81FFDA49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9565" y="1813638"/>
            <a:ext cx="478010" cy="478010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i="0" baseline="0">
                <a:solidFill>
                  <a:schemeClr val="bg2"/>
                </a:solidFill>
              </a:defRPr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85800" indent="0" algn="ctr">
              <a:buNone/>
              <a:defRPr/>
            </a:lvl4pPr>
            <a:lvl5pPr marL="914400" indent="0" algn="ctr">
              <a:buNone/>
              <a:defRPr/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C12ACDB-7F6E-4D69-AC7C-B8CB4866B4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21370" y="1755073"/>
            <a:ext cx="3749261" cy="595140"/>
          </a:xfrm>
          <a:prstGeom prst="homePlate">
            <a:avLst>
              <a:gd name="adj" fmla="val 27594"/>
            </a:avLst>
          </a:prstGeom>
          <a:solidFill>
            <a:schemeClr val="tx2"/>
          </a:solidFill>
          <a:ln w="3175">
            <a:noFill/>
          </a:ln>
        </p:spPr>
        <p:txBody>
          <a:bodyPr lIns="64008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382F72FC-E817-4134-991D-E5C6F62508B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9935" y="1813638"/>
            <a:ext cx="478010" cy="478010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i="0" baseline="0">
                <a:solidFill>
                  <a:schemeClr val="tx2"/>
                </a:solidFill>
              </a:defRPr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85800" indent="0" algn="ctr">
              <a:buNone/>
              <a:defRPr/>
            </a:lvl4pPr>
            <a:lvl5pPr marL="914400" indent="0" algn="ctr">
              <a:buNone/>
              <a:defRPr/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718546A-E34E-48A7-97E3-DA30E04D45C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61739" y="1755073"/>
            <a:ext cx="3749261" cy="595140"/>
          </a:xfrm>
          <a:prstGeom prst="homePlate">
            <a:avLst>
              <a:gd name="adj" fmla="val 27594"/>
            </a:avLst>
          </a:prstGeom>
          <a:solidFill>
            <a:schemeClr val="accent1"/>
          </a:solidFill>
          <a:ln w="3175">
            <a:noFill/>
          </a:ln>
        </p:spPr>
        <p:txBody>
          <a:bodyPr lIns="64008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C416119A-9667-46B0-9AAA-E60DFF5910E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0304" y="1813638"/>
            <a:ext cx="478010" cy="478010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i="0" baseline="0">
                <a:solidFill>
                  <a:schemeClr val="accent1"/>
                </a:solidFill>
              </a:defRPr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85800" indent="0" algn="ctr">
              <a:buNone/>
              <a:defRPr/>
            </a:lvl4pPr>
            <a:lvl5pPr marL="914400" indent="0" algn="ctr">
              <a:buNone/>
              <a:defRPr/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18CB7F-C49D-47F1-87E2-FE511F8332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00" y="2417977"/>
            <a:ext cx="3578493" cy="3741523"/>
          </a:xfrm>
        </p:spPr>
        <p:txBody>
          <a:bodyPr>
            <a:no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7DB576C-7497-43FD-8CA9-9BB41AA914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21370" y="2417977"/>
            <a:ext cx="3578493" cy="3741523"/>
          </a:xfrm>
        </p:spPr>
        <p:txBody>
          <a:bodyPr>
            <a:no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5D5D8F4-49EB-4ED6-A86D-7ACD625444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61739" y="2417977"/>
            <a:ext cx="3578493" cy="3741523"/>
          </a:xfrm>
        </p:spPr>
        <p:txBody>
          <a:bodyPr>
            <a:no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172E33-86F4-7F47-E721-D74AD614F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4785156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 three parts v3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C52CABD9-F1FB-1BB2-1626-0C1DFA7770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anchor="ctr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9613993-9D9F-5289-7DF2-83E3549ED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B318FCF-7489-8375-35A6-A98945A34F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00" y="3235895"/>
            <a:ext cx="3461353" cy="2923605"/>
          </a:xfrm>
        </p:spPr>
        <p:txBody>
          <a:bodyPr lIns="0" tIns="45720" rIns="0" bIns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0EB2423-B41D-3C94-04F2-9092D0613B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52914" y="3235895"/>
            <a:ext cx="3461353" cy="2923605"/>
          </a:xfrm>
        </p:spPr>
        <p:txBody>
          <a:bodyPr lIns="0" tIns="45720" rIns="0" bIns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8B6DF26C-F1B7-F178-5867-9BC9A16A668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24829" y="3235895"/>
            <a:ext cx="3461353" cy="2923605"/>
          </a:xfrm>
        </p:spPr>
        <p:txBody>
          <a:bodyPr lIns="0" tIns="45720" rIns="0" bIns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C52984A1-1010-4A2E-A163-00FE56218E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10800000" flipH="1">
            <a:off x="968676" y="2955299"/>
            <a:ext cx="2286000" cy="13586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1C2A04E1-F1A7-4E26-B64E-64699EDF58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 rot="10800000" flipH="1">
            <a:off x="4840591" y="2955299"/>
            <a:ext cx="2286000" cy="13586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12" name="Text Placeholder 33">
            <a:extLst>
              <a:ext uri="{FF2B5EF4-FFF2-40B4-BE49-F238E27FC236}">
                <a16:creationId xmlns:a16="http://schemas.microsoft.com/office/drawing/2014/main" id="{C13C4474-FFB3-4752-8C38-E108CE01360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 rot="10800000" flipH="1">
            <a:off x="8712505" y="2955299"/>
            <a:ext cx="2286000" cy="13586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097811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hree parts v3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21D9686-D61C-E3FA-D9D1-21E3EC958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5C1B5B8F-8F7F-4A26-BA85-D4BA4E0DD8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1896171"/>
            <a:ext cx="3686171" cy="914400"/>
          </a:xfrm>
          <a:prstGeom prst="parallelogram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5696695-91BA-4DC5-8AD3-6D63161000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6725" y="1744665"/>
            <a:ext cx="274320" cy="2743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3437A52-D8B5-4EC5-893E-8E9C14C978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2914" y="1896171"/>
            <a:ext cx="3686171" cy="914400"/>
          </a:xfrm>
          <a:prstGeom prst="parallelogram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AD406D3A-5C08-4C2E-95C7-B4F54419389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38639" y="1744665"/>
            <a:ext cx="274320" cy="2743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754A8B8C-8F54-4392-A714-5B1F21C6F9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4829" y="1896171"/>
            <a:ext cx="3686171" cy="914400"/>
          </a:xfrm>
          <a:prstGeom prst="parallelogram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5A82B1AE-89C0-4198-9AA9-402DB3406A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10554" y="1744665"/>
            <a:ext cx="274320" cy="2743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83BEE76C-FDC0-4E76-8723-9E9D8A5D989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00" y="3235895"/>
            <a:ext cx="3461353" cy="2923605"/>
          </a:xfrm>
        </p:spPr>
        <p:txBody>
          <a:bodyPr lIns="0" tIns="45720" rIns="0" bIns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5278850B-74B2-4F43-8452-FEE8AEA300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52914" y="3235895"/>
            <a:ext cx="3461353" cy="2923605"/>
          </a:xfrm>
        </p:spPr>
        <p:txBody>
          <a:bodyPr lIns="0" tIns="45720" rIns="0" bIns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43C9F12F-ED06-41E8-99FD-389F9E09485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24829" y="3235895"/>
            <a:ext cx="3461353" cy="2923605"/>
          </a:xfrm>
        </p:spPr>
        <p:txBody>
          <a:bodyPr lIns="0" tIns="45720" rIns="0" bIns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BFFA38-4355-040C-6637-C75BBF684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581B735E-0A7D-404F-AF50-ECD0DF6C38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10800000" flipH="1">
            <a:off x="968676" y="2955299"/>
            <a:ext cx="2286000" cy="13586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FA067AC5-AD8D-44E6-8C58-DC1EFE6D56B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 rot="10800000" flipH="1">
            <a:off x="4840591" y="2955299"/>
            <a:ext cx="2286000" cy="13586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9" name="Text Placeholder 33">
            <a:extLst>
              <a:ext uri="{FF2B5EF4-FFF2-40B4-BE49-F238E27FC236}">
                <a16:creationId xmlns:a16="http://schemas.microsoft.com/office/drawing/2014/main" id="{CC3191A3-6685-4D82-8271-A0BD9314584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 rot="10800000" flipH="1">
            <a:off x="8712505" y="2955299"/>
            <a:ext cx="2286000" cy="13586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44866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part action and resul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C52CABD9-F1FB-1BB2-1626-0C1DFA7770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9613993-9D9F-5289-7DF2-83E3549ED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58B9C44-67A1-F19A-2F90-8D163C4BCE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1000" y="1749425"/>
            <a:ext cx="6858000" cy="274320"/>
          </a:xfrm>
        </p:spPr>
        <p:txBody>
          <a:bodyPr tIns="45720" anchor="t">
            <a:noAutofit/>
          </a:bodyPr>
          <a:lstStyle>
            <a:lvl1pPr marL="0" indent="0"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33E1813-119B-F20B-6245-2B1293AEBFA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696200" y="1749425"/>
            <a:ext cx="4114800" cy="274320"/>
          </a:xfrm>
        </p:spPr>
        <p:txBody>
          <a:bodyPr tIns="45720" anchor="t">
            <a:noAutofit/>
          </a:bodyPr>
          <a:lstStyle>
            <a:lvl1pPr marL="0" indent="0"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6052DD7-6318-B41C-E822-0A9B0261D4B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1000" y="2181637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2DA6305-14EF-58A7-D4A9-53DF9F80464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96200" y="2181637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B295A86-55EA-E45B-DE4B-3A4F945641B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0" y="3004653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2A1CD0D-D016-7206-D06A-2F07D0C457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96200" y="3004653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6C08BA1-17A1-DE85-A338-38E67AB591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1000" y="3827669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6910E45-C528-843E-E68C-96381B332C8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696200" y="3827669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146AFD0-EB4E-19A1-2B98-AF43D3C424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1000" y="4650685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4EAEBFB-1FC7-20E0-2AF9-DF1DE42449B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96200" y="4650685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49BE5BE-1B8E-A14C-8514-E56E51B7931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1000" y="5473700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51EDD64-FBB9-AC9B-0D49-1C0778F2764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696200" y="5473700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D0FA5101-23ED-4274-8DE4-4D15014FC2F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 rot="5400000" flipH="1">
            <a:off x="7136906" y="2454688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1" name="Text Placeholder 33">
            <a:extLst>
              <a:ext uri="{FF2B5EF4-FFF2-40B4-BE49-F238E27FC236}">
                <a16:creationId xmlns:a16="http://schemas.microsoft.com/office/drawing/2014/main" id="{C8AB2199-85DF-43D2-9C91-C454A629DC2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 flipH="1">
            <a:off x="7136906" y="3274405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31187B0D-2526-43B5-9BA9-02DDEAC64A1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5400000" flipH="1">
            <a:off x="7136906" y="4094122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3" name="Text Placeholder 33">
            <a:extLst>
              <a:ext uri="{FF2B5EF4-FFF2-40B4-BE49-F238E27FC236}">
                <a16:creationId xmlns:a16="http://schemas.microsoft.com/office/drawing/2014/main" id="{FA307AD5-7634-4142-A822-22527C2940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5400000" flipH="1">
            <a:off x="7136906" y="4913839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A906489B-C890-41CB-99F1-DC3F60AFDE6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 rot="5400000" flipH="1">
            <a:off x="7136906" y="5733557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572237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art action and resul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21D9686-D61C-E3FA-D9D1-21E3EC958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512CF03-D66D-4D74-84B4-1EA1A76822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1000" y="1749425"/>
            <a:ext cx="6858000" cy="274320"/>
          </a:xfrm>
        </p:spPr>
        <p:txBody>
          <a:bodyPr tIns="45720" anchor="t">
            <a:noAutofit/>
          </a:bodyPr>
          <a:lstStyle>
            <a:lvl1pPr marL="0" indent="0"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A796000-C557-4E7F-995F-76BEDD8AC99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696200" y="1749425"/>
            <a:ext cx="4114800" cy="274320"/>
          </a:xfrm>
        </p:spPr>
        <p:txBody>
          <a:bodyPr tIns="45720" anchor="t">
            <a:noAutofit/>
          </a:bodyPr>
          <a:lstStyle>
            <a:lvl1pPr marL="0" indent="0"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6F900C4-405C-454A-81EA-4FC1885A631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1000" y="2181637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62643F1E-76F9-442A-B8AD-BE6A6EB4207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641207" y="2181637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927C6C5-504D-432A-9BD7-45C613B85F7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96200" y="2181637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97A4ED5-09F6-4AC5-B3A5-FD24DC7461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0" y="3004653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EE95F459-E185-4546-8C80-020A402DB22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641207" y="3004653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77DC317-11BF-486F-A388-FAD12B1AE21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96200" y="3004653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79396707-D59D-4E31-8254-C1705CE2FA2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1000" y="3827669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95D79A87-1447-4A86-951C-CA234F784B3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641207" y="3827669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7EDA6C5-4C2D-4BB8-9876-4D833AC8E94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696200" y="3827669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89C41724-B810-40DF-B21C-7339CC94BC9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1000" y="4650685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139A1ACD-75F1-4441-A0DB-901412348C6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641207" y="4650685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0CB098D-5E0D-4A19-BC00-AE505E3DB7C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96200" y="4650685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D0FB2364-CFBD-4EE3-BDB9-9EEFA34847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81000" y="5473700"/>
            <a:ext cx="1168400" cy="685800"/>
          </a:xfrm>
        </p:spPr>
        <p:txBody>
          <a:bodyPr tIns="45720" anchor="ctr"/>
          <a:lstStyle>
            <a:lvl1pPr marL="0" indent="0"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1139AAF7-1B76-4259-B3D7-661E1F3C93C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641207" y="5473700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676491DB-0C2E-4812-9D5C-6BCA7723FD7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696200" y="5473700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018A2A-AA09-8E73-1A10-68723CDBF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6" name="Text Placeholder 33">
            <a:extLst>
              <a:ext uri="{FF2B5EF4-FFF2-40B4-BE49-F238E27FC236}">
                <a16:creationId xmlns:a16="http://schemas.microsoft.com/office/drawing/2014/main" id="{7B373DA1-EE0E-40AC-A266-BBB7F53A396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 rot="5400000" flipH="1">
            <a:off x="7136906" y="2454688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4A2A1A34-D52D-48FF-AD62-A25E52FB122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 flipH="1">
            <a:off x="7136906" y="3274405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D19256F3-2F9A-4BB4-9D4E-F4875722DB4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5400000" flipH="1">
            <a:off x="7136906" y="4094122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337D84D3-3CB5-488A-ACEF-978A1569D8D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5400000" flipH="1">
            <a:off x="7136906" y="4913839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EEA7829B-5B85-4045-9F1C-B7C185E2DF4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 rot="5400000" flipH="1">
            <a:off x="7136906" y="5733557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61057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4_Two part action and resul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C52CABD9-F1FB-1BB2-1626-0C1DFA7770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9613993-9D9F-5289-7DF2-83E3549ED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58B9C44-67A1-F19A-2F90-8D163C4BCE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1000" y="1749425"/>
            <a:ext cx="6858000" cy="274320"/>
          </a:xfrm>
        </p:spPr>
        <p:txBody>
          <a:bodyPr tIns="45720" anchor="t">
            <a:noAutofit/>
          </a:bodyPr>
          <a:lstStyle>
            <a:lvl1pPr marL="0" indent="0"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33E1813-119B-F20B-6245-2B1293AEBFA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696200" y="1749425"/>
            <a:ext cx="4114800" cy="274320"/>
          </a:xfrm>
        </p:spPr>
        <p:txBody>
          <a:bodyPr tIns="45720" anchor="t">
            <a:noAutofit/>
          </a:bodyPr>
          <a:lstStyle>
            <a:lvl1pPr marL="0" indent="0">
              <a:buNone/>
              <a:defRPr sz="1400" b="1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2DA6305-14EF-58A7-D4A9-53DF9F80464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96200" y="2181637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2A1CD0D-D016-7206-D06A-2F07D0C457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96200" y="3004653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6910E45-C528-843E-E68C-96381B332C8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696200" y="3827669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4EAEBFB-1FC7-20E0-2AF9-DF1DE42449B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96200" y="4650685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51EDD64-FBB9-AC9B-0D49-1C0778F2764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696200" y="5473700"/>
            <a:ext cx="4114800" cy="685800"/>
          </a:xfrm>
        </p:spPr>
        <p:txBody>
          <a:bodyPr tIns="0" anchor="ctr"/>
          <a:lstStyle>
            <a:lvl1pPr marL="0" indent="0">
              <a:buNone/>
              <a:defRPr sz="12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EEEDCDFB-8BFA-E782-A4FE-F57140A82D4D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81000" y="2181637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0490B643-0E6F-61C3-B22E-B373203F25B9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381000" y="3004653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947C2B64-F15F-E98D-12A4-0BE98D5CDDD3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81000" y="3827669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7A29A00E-12C5-4793-95DB-72DB4148ED0B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81000" y="4650685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5462CFCE-2CA7-9DA4-54BC-0A51F2736FE2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81000" y="5473700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CBCD294F-BC81-4BDC-8BB1-094D4D81B14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 rot="5400000" flipH="1">
            <a:off x="7136906" y="2454688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32ECDF77-2C22-4C0D-9D55-3035E0A755A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 rot="5400000" flipH="1">
            <a:off x="7136906" y="3274405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5" name="Text Placeholder 33">
            <a:extLst>
              <a:ext uri="{FF2B5EF4-FFF2-40B4-BE49-F238E27FC236}">
                <a16:creationId xmlns:a16="http://schemas.microsoft.com/office/drawing/2014/main" id="{29DC7404-43FF-4B4D-9E8D-8A8B73D38E3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 rot="5400000" flipH="1">
            <a:off x="7136906" y="4094122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6" name="Text Placeholder 33">
            <a:extLst>
              <a:ext uri="{FF2B5EF4-FFF2-40B4-BE49-F238E27FC236}">
                <a16:creationId xmlns:a16="http://schemas.microsoft.com/office/drawing/2014/main" id="{1DF62F19-4861-4FE3-8611-11A886CDEE0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5400000" flipH="1">
            <a:off x="7136906" y="4913839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  <p:sp>
        <p:nvSpPr>
          <p:cNvPr id="27" name="Text Placeholder 33">
            <a:extLst>
              <a:ext uri="{FF2B5EF4-FFF2-40B4-BE49-F238E27FC236}">
                <a16:creationId xmlns:a16="http://schemas.microsoft.com/office/drawing/2014/main" id="{636E88C3-4213-4CBC-BA6E-A568099F3AC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 rot="5400000" flipH="1">
            <a:off x="7136906" y="5733557"/>
            <a:ext cx="712187" cy="139698"/>
          </a:xfrm>
          <a:prstGeom prst="triangle">
            <a:avLst/>
          </a:prstGeom>
          <a:solidFill>
            <a:srgbClr val="C1BAF3"/>
          </a:solid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983461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wo part action and resul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21D9686-D61C-E3FA-D9D1-21E3EC958A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512CF03-D66D-4D74-84B4-1EA1A76822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1000" y="1749425"/>
            <a:ext cx="6858000" cy="274320"/>
          </a:xfrm>
        </p:spPr>
        <p:txBody>
          <a:bodyPr tIns="45720" anchor="t">
            <a:no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A796000-C557-4E7F-995F-76BEDD8AC99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696200" y="1749425"/>
            <a:ext cx="4114800" cy="274320"/>
          </a:xfrm>
        </p:spPr>
        <p:txBody>
          <a:bodyPr tIns="45720" anchor="t">
            <a:no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470996-A4F8-449B-B340-983A6DBC894C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381000" y="2181637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62643F1E-76F9-442A-B8AD-BE6A6EB4207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641207" y="2181637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927C6C5-504D-432A-9BD7-45C613B85F7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96200" y="2181637"/>
            <a:ext cx="4114800" cy="685800"/>
          </a:xfrm>
        </p:spPr>
        <p:txBody>
          <a:bodyPr tIns="0" anchor="ctr">
            <a:norm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74615E4E-BED6-4C53-B144-CF882C2FA46D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381000" y="3004653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EE95F459-E185-4546-8C80-020A402DB22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641207" y="3004653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77DC317-11BF-486F-A388-FAD12B1AE21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696200" y="3004653"/>
            <a:ext cx="4114800" cy="685800"/>
          </a:xfrm>
        </p:spPr>
        <p:txBody>
          <a:bodyPr tIns="0" anchor="ctr">
            <a:norm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Picture Placeholder 2">
            <a:extLst>
              <a:ext uri="{FF2B5EF4-FFF2-40B4-BE49-F238E27FC236}">
                <a16:creationId xmlns:a16="http://schemas.microsoft.com/office/drawing/2014/main" id="{249F7BF1-EA28-4401-A283-1F22667C13A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381000" y="3827669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95D79A87-1447-4A86-951C-CA234F784B3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641207" y="3827669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7EDA6C5-4C2D-4BB8-9876-4D833AC8E94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696200" y="3827669"/>
            <a:ext cx="4114800" cy="685800"/>
          </a:xfrm>
        </p:spPr>
        <p:txBody>
          <a:bodyPr tIns="0" anchor="ctr">
            <a:norm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AA8A5F31-9D52-42DF-BA9B-F65F5293264A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81000" y="4650685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139A1ACD-75F1-4441-A0DB-901412348C6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641207" y="4650685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0CB098D-5E0D-4A19-BC00-AE505E3DB7C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96200" y="4650685"/>
            <a:ext cx="4114800" cy="685800"/>
          </a:xfrm>
        </p:spPr>
        <p:txBody>
          <a:bodyPr tIns="0" anchor="ctr">
            <a:norm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77ED4AAD-A9EA-4EF0-80DC-97350707DB1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81000" y="5473700"/>
            <a:ext cx="1168400" cy="685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aseline="0"/>
            </a:lvl1pPr>
          </a:lstStyle>
          <a:p>
            <a:endParaRPr lang="en-GB" dirty="0"/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1139AAF7-1B76-4259-B3D7-661E1F3C93C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641207" y="5473700"/>
            <a:ext cx="5597793" cy="685800"/>
          </a:xfrm>
          <a:custGeom>
            <a:avLst/>
            <a:gdLst>
              <a:gd name="connsiteX0" fmla="*/ 171450 w 5597793"/>
              <a:gd name="connsiteY0" fmla="*/ 0 h 685800"/>
              <a:gd name="connsiteX1" fmla="*/ 5597793 w 5597793"/>
              <a:gd name="connsiteY1" fmla="*/ 0 h 685800"/>
              <a:gd name="connsiteX2" fmla="*/ 5426343 w 5597793"/>
              <a:gd name="connsiteY2" fmla="*/ 685800 h 685800"/>
              <a:gd name="connsiteX3" fmla="*/ 0 w 5597793"/>
              <a:gd name="connsiteY3" fmla="*/ 68580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97793" h="685800">
                <a:moveTo>
                  <a:pt x="171450" y="0"/>
                </a:moveTo>
                <a:lnTo>
                  <a:pt x="5597793" y="0"/>
                </a:lnTo>
                <a:lnTo>
                  <a:pt x="5426343" y="685800"/>
                </a:lnTo>
                <a:lnTo>
                  <a:pt x="0" y="6858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28600" tIns="45720" rIns="228600" bIns="45720" anchor="ctr">
            <a:no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676491DB-0C2E-4812-9D5C-6BCA7723FD7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696200" y="5473700"/>
            <a:ext cx="4114800" cy="685800"/>
          </a:xfrm>
        </p:spPr>
        <p:txBody>
          <a:bodyPr tIns="0" anchor="ctr">
            <a:norm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429169CD-DA8D-4C23-8F64-2CDCF3497FA1}"/>
              </a:ext>
            </a:extLst>
          </p:cNvPr>
          <p:cNvSpPr/>
          <p:nvPr userDrawn="1"/>
        </p:nvSpPr>
        <p:spPr>
          <a:xfrm rot="5400000">
            <a:off x="7136906" y="2454688"/>
            <a:ext cx="712187" cy="139698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5" name="Isosceles Triangle 44">
            <a:extLst>
              <a:ext uri="{FF2B5EF4-FFF2-40B4-BE49-F238E27FC236}">
                <a16:creationId xmlns:a16="http://schemas.microsoft.com/office/drawing/2014/main" id="{1592CE64-9654-45B2-8AC9-D669D961B4E1}"/>
              </a:ext>
            </a:extLst>
          </p:cNvPr>
          <p:cNvSpPr/>
          <p:nvPr userDrawn="1"/>
        </p:nvSpPr>
        <p:spPr>
          <a:xfrm rot="5400000">
            <a:off x="7136906" y="3274405"/>
            <a:ext cx="712187" cy="139698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80FFE2C3-79D1-48F2-AF54-2E690202A016}"/>
              </a:ext>
            </a:extLst>
          </p:cNvPr>
          <p:cNvSpPr/>
          <p:nvPr userDrawn="1"/>
        </p:nvSpPr>
        <p:spPr>
          <a:xfrm rot="5400000">
            <a:off x="7136906" y="4094122"/>
            <a:ext cx="712187" cy="139698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7" name="Isosceles Triangle 46">
            <a:extLst>
              <a:ext uri="{FF2B5EF4-FFF2-40B4-BE49-F238E27FC236}">
                <a16:creationId xmlns:a16="http://schemas.microsoft.com/office/drawing/2014/main" id="{C5AE279A-BB08-432F-BBA7-44CB03317E10}"/>
              </a:ext>
            </a:extLst>
          </p:cNvPr>
          <p:cNvSpPr/>
          <p:nvPr userDrawn="1"/>
        </p:nvSpPr>
        <p:spPr>
          <a:xfrm rot="5400000">
            <a:off x="7136906" y="4913839"/>
            <a:ext cx="712187" cy="139698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8" name="Isosceles Triangle 47">
            <a:extLst>
              <a:ext uri="{FF2B5EF4-FFF2-40B4-BE49-F238E27FC236}">
                <a16:creationId xmlns:a16="http://schemas.microsoft.com/office/drawing/2014/main" id="{0EB4584D-9B06-4BB2-B971-BA987A0DEAFA}"/>
              </a:ext>
            </a:extLst>
          </p:cNvPr>
          <p:cNvSpPr/>
          <p:nvPr userDrawn="1"/>
        </p:nvSpPr>
        <p:spPr>
          <a:xfrm rot="5400000">
            <a:off x="7136906" y="5733557"/>
            <a:ext cx="712187" cy="139698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12C692-5886-DB72-F174-06C0B46629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655166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plit -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C6E1C4F-6A0A-E048-517F-DE70EFB0D1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0E87CA4-DF8B-A4B2-C104-A83381D204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812131" y="2108200"/>
            <a:ext cx="823912" cy="8239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FCC34BF6-3093-6B2E-E777-84264269CA9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84044" y="2118266"/>
            <a:ext cx="823912" cy="8239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D9F3BDAD-C8AA-5417-4BAB-2ACE29EC05D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555956" y="2118266"/>
            <a:ext cx="823912" cy="8239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E1AA924-420F-3F2E-AD54-8F437A89B1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3221391"/>
            <a:ext cx="3686175" cy="415925"/>
          </a:xfrm>
          <a:prstGeom prst="parallelogram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07DFCC3D-79B1-B2C2-E5FE-DBB8CCD7D52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2912" y="3221391"/>
            <a:ext cx="3686175" cy="415925"/>
          </a:xfrm>
          <a:prstGeom prst="parallelogram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79B55756-003A-46FE-BC73-669E725E11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4825" y="3221391"/>
            <a:ext cx="3686175" cy="415925"/>
          </a:xfrm>
          <a:prstGeom prst="parallelogram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1200"/>
            </a:lvl2pPr>
            <a:lvl3pPr marL="914400" indent="0" algn="ctr">
              <a:buNone/>
              <a:defRPr sz="1200"/>
            </a:lvl3pPr>
            <a:lvl4pPr marL="1371600" indent="0" algn="ctr">
              <a:buNone/>
              <a:defRPr sz="1200"/>
            </a:lvl4pPr>
            <a:lvl5pPr marL="1828800" indent="0" algn="ctr">
              <a:buNone/>
              <a:defRPr sz="1200"/>
            </a:lvl5pPr>
          </a:lstStyle>
          <a:p>
            <a:pPr lvl="0"/>
            <a:r>
              <a:rPr lang="en-GB" dirty="0"/>
              <a:t>Example copy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A7486A-BA2F-47B0-B17B-07CF50190F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1000" y="3816836"/>
            <a:ext cx="3541321" cy="1698593"/>
          </a:xfrm>
        </p:spPr>
        <p:txBody>
          <a:bodyPr lIns="0" tIns="0" rIns="0" bIns="0">
            <a:norm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EC6CD97-5EED-4819-81CE-B94BB95F9DA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52912" y="3816836"/>
            <a:ext cx="3541321" cy="1698593"/>
          </a:xfrm>
        </p:spPr>
        <p:txBody>
          <a:bodyPr lIns="0" tIns="0" rIns="0" bIns="0">
            <a:norm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04792009-834D-4287-8EAF-781BE9D027D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24825" y="3816836"/>
            <a:ext cx="3541321" cy="1698593"/>
          </a:xfrm>
        </p:spPr>
        <p:txBody>
          <a:bodyPr lIns="0" tIns="0" rIns="0" bIns="0">
            <a:normAutofit/>
          </a:bodyPr>
          <a:lstStyle>
            <a:lvl1pPr>
              <a:defRPr sz="1200" baseline="0"/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805833-1A1E-7B64-6C5F-03745732D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060393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_8">
    <p:bg>
      <p:bgPr>
        <a:gradFill>
          <a:gsLst>
            <a:gs pos="0">
              <a:schemeClr val="accent1"/>
            </a:gs>
            <a:gs pos="99000">
              <a:schemeClr val="accent4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14E23-4D5A-C225-A302-6C9C57B22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643127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bg object 17">
            <a:extLst>
              <a:ext uri="{FF2B5EF4-FFF2-40B4-BE49-F238E27FC236}">
                <a16:creationId xmlns:a16="http://schemas.microsoft.com/office/drawing/2014/main" id="{5AE8EB3F-06DA-9660-72EB-9FC6330A4F34}"/>
              </a:ext>
            </a:extLst>
          </p:cNvPr>
          <p:cNvSpPr/>
          <p:nvPr userDrawn="1"/>
        </p:nvSpPr>
        <p:spPr>
          <a:xfrm>
            <a:off x="3791345" y="1"/>
            <a:ext cx="8400655" cy="6858000"/>
          </a:xfrm>
          <a:custGeom>
            <a:avLst/>
            <a:gdLst/>
            <a:ahLst/>
            <a:cxnLst/>
            <a:rect l="l" t="t" r="r" b="b"/>
            <a:pathLst>
              <a:path w="13852525" h="11308715">
                <a:moveTo>
                  <a:pt x="13663594" y="541274"/>
                </a:moveTo>
                <a:lnTo>
                  <a:pt x="13337552" y="886374"/>
                </a:lnTo>
                <a:lnTo>
                  <a:pt x="13458406" y="2559160"/>
                </a:lnTo>
                <a:lnTo>
                  <a:pt x="13784438" y="2214071"/>
                </a:lnTo>
                <a:lnTo>
                  <a:pt x="13663594" y="541274"/>
                </a:lnTo>
                <a:close/>
              </a:path>
              <a:path w="13852525" h="11308715">
                <a:moveTo>
                  <a:pt x="12862427" y="0"/>
                </a:moveTo>
                <a:lnTo>
                  <a:pt x="12842864" y="0"/>
                </a:lnTo>
                <a:lnTo>
                  <a:pt x="12849922" y="22955"/>
                </a:lnTo>
                <a:lnTo>
                  <a:pt x="12862427" y="0"/>
                </a:lnTo>
                <a:close/>
              </a:path>
              <a:path w="13852525" h="11308715">
                <a:moveTo>
                  <a:pt x="1356744" y="11181556"/>
                </a:moveTo>
                <a:lnTo>
                  <a:pt x="1317802" y="11206956"/>
                </a:lnTo>
                <a:lnTo>
                  <a:pt x="1288384" y="11308556"/>
                </a:lnTo>
                <a:lnTo>
                  <a:pt x="1318869" y="11308556"/>
                </a:lnTo>
                <a:lnTo>
                  <a:pt x="1356744" y="11181556"/>
                </a:lnTo>
                <a:close/>
              </a:path>
              <a:path w="13852525" h="11308715">
                <a:moveTo>
                  <a:pt x="2108543" y="10737056"/>
                </a:moveTo>
                <a:lnTo>
                  <a:pt x="1991771" y="10813256"/>
                </a:lnTo>
                <a:lnTo>
                  <a:pt x="1863059" y="11308556"/>
                </a:lnTo>
                <a:lnTo>
                  <a:pt x="1960085" y="11308556"/>
                </a:lnTo>
                <a:lnTo>
                  <a:pt x="2108543" y="10737056"/>
                </a:lnTo>
                <a:close/>
              </a:path>
              <a:path w="13852525" h="11308715">
                <a:moveTo>
                  <a:pt x="2860321" y="10292556"/>
                </a:moveTo>
                <a:lnTo>
                  <a:pt x="2665698" y="10419556"/>
                </a:lnTo>
                <a:lnTo>
                  <a:pt x="2464479" y="11308556"/>
                </a:lnTo>
                <a:lnTo>
                  <a:pt x="2631287" y="11308556"/>
                </a:lnTo>
                <a:lnTo>
                  <a:pt x="2860321" y="10292556"/>
                </a:lnTo>
                <a:close/>
              </a:path>
              <a:path w="13852525" h="11308715">
                <a:moveTo>
                  <a:pt x="4206856" y="10991056"/>
                </a:moveTo>
                <a:lnTo>
                  <a:pt x="3978528" y="11232356"/>
                </a:lnTo>
                <a:lnTo>
                  <a:pt x="3984302" y="11308556"/>
                </a:lnTo>
                <a:lnTo>
                  <a:pt x="4230674" y="11308556"/>
                </a:lnTo>
                <a:lnTo>
                  <a:pt x="4206856" y="10991056"/>
                </a:lnTo>
                <a:close/>
              </a:path>
              <a:path w="13852525" h="11308715">
                <a:moveTo>
                  <a:pt x="4844187" y="10356056"/>
                </a:moveTo>
                <a:lnTo>
                  <a:pt x="4550207" y="10660856"/>
                </a:lnTo>
                <a:lnTo>
                  <a:pt x="4626194" y="11308556"/>
                </a:lnTo>
                <a:lnTo>
                  <a:pt x="4956321" y="11308556"/>
                </a:lnTo>
                <a:lnTo>
                  <a:pt x="4844187" y="10356056"/>
                </a:lnTo>
                <a:close/>
              </a:path>
              <a:path w="13852525" h="11308715">
                <a:moveTo>
                  <a:pt x="5579023" y="11168856"/>
                </a:moveTo>
                <a:lnTo>
                  <a:pt x="5495758" y="11308556"/>
                </a:lnTo>
                <a:lnTo>
                  <a:pt x="5639011" y="11308556"/>
                </a:lnTo>
                <a:lnTo>
                  <a:pt x="5579023" y="11168856"/>
                </a:lnTo>
                <a:close/>
              </a:path>
              <a:path w="13852525" h="11308715">
                <a:moveTo>
                  <a:pt x="6049721" y="10356056"/>
                </a:moveTo>
                <a:lnTo>
                  <a:pt x="5788221" y="10825956"/>
                </a:lnTo>
                <a:lnTo>
                  <a:pt x="6010322" y="11308556"/>
                </a:lnTo>
                <a:lnTo>
                  <a:pt x="6481959" y="11308556"/>
                </a:lnTo>
                <a:lnTo>
                  <a:pt x="6049721" y="10356056"/>
                </a:lnTo>
                <a:close/>
              </a:path>
              <a:path w="13852525" h="11308715">
                <a:moveTo>
                  <a:pt x="6792159" y="10851356"/>
                </a:moveTo>
                <a:lnTo>
                  <a:pt x="6670546" y="11308556"/>
                </a:lnTo>
                <a:lnTo>
                  <a:pt x="7184035" y="11308556"/>
                </a:lnTo>
                <a:lnTo>
                  <a:pt x="6792159" y="10851356"/>
                </a:lnTo>
                <a:close/>
              </a:path>
              <a:path w="13852525" h="11308715">
                <a:moveTo>
                  <a:pt x="7666782" y="11130756"/>
                </a:moveTo>
                <a:lnTo>
                  <a:pt x="7667177" y="11308556"/>
                </a:lnTo>
                <a:lnTo>
                  <a:pt x="7938091" y="11308556"/>
                </a:lnTo>
                <a:lnTo>
                  <a:pt x="7666782" y="11130756"/>
                </a:lnTo>
                <a:close/>
              </a:path>
              <a:path w="13852525" h="11308715">
                <a:moveTo>
                  <a:pt x="9478281" y="10813256"/>
                </a:moveTo>
                <a:lnTo>
                  <a:pt x="7686195" y="10813256"/>
                </a:lnTo>
                <a:lnTo>
                  <a:pt x="8511158" y="11308556"/>
                </a:lnTo>
                <a:lnTo>
                  <a:pt x="8554593" y="11308556"/>
                </a:lnTo>
                <a:lnTo>
                  <a:pt x="8554315" y="10851356"/>
                </a:lnTo>
                <a:lnTo>
                  <a:pt x="9488564" y="10851356"/>
                </a:lnTo>
                <a:lnTo>
                  <a:pt x="9478281" y="10813256"/>
                </a:lnTo>
                <a:close/>
              </a:path>
              <a:path w="13852525" h="11308715">
                <a:moveTo>
                  <a:pt x="8619486" y="11168856"/>
                </a:moveTo>
                <a:lnTo>
                  <a:pt x="8658631" y="11308556"/>
                </a:lnTo>
                <a:lnTo>
                  <a:pt x="9042097" y="11308556"/>
                </a:lnTo>
                <a:lnTo>
                  <a:pt x="8619486" y="11168856"/>
                </a:lnTo>
                <a:close/>
              </a:path>
              <a:path w="13852525" h="11308715">
                <a:moveTo>
                  <a:pt x="9587425" y="10952956"/>
                </a:moveTo>
                <a:lnTo>
                  <a:pt x="9799117" y="11308556"/>
                </a:lnTo>
                <a:lnTo>
                  <a:pt x="10926641" y="11308556"/>
                </a:lnTo>
                <a:lnTo>
                  <a:pt x="10757923" y="11029156"/>
                </a:lnTo>
                <a:lnTo>
                  <a:pt x="9587425" y="10952956"/>
                </a:lnTo>
                <a:close/>
              </a:path>
              <a:path w="13852525" h="11308715">
                <a:moveTo>
                  <a:pt x="12527880" y="11029156"/>
                </a:moveTo>
                <a:lnTo>
                  <a:pt x="11234160" y="11219656"/>
                </a:lnTo>
                <a:lnTo>
                  <a:pt x="11329752" y="11308556"/>
                </a:lnTo>
                <a:lnTo>
                  <a:pt x="12829487" y="11308556"/>
                </a:lnTo>
                <a:lnTo>
                  <a:pt x="12527880" y="11029156"/>
                </a:lnTo>
                <a:close/>
              </a:path>
              <a:path w="13852525" h="11308715">
                <a:moveTo>
                  <a:pt x="7638137" y="10546556"/>
                </a:moveTo>
                <a:lnTo>
                  <a:pt x="6890020" y="10546556"/>
                </a:lnTo>
                <a:lnTo>
                  <a:pt x="6887821" y="10559256"/>
                </a:lnTo>
                <a:lnTo>
                  <a:pt x="7563947" y="11270456"/>
                </a:lnTo>
                <a:lnTo>
                  <a:pt x="7686195" y="10813256"/>
                </a:lnTo>
                <a:lnTo>
                  <a:pt x="9478281" y="10813256"/>
                </a:lnTo>
                <a:lnTo>
                  <a:pt x="9437147" y="10660856"/>
                </a:lnTo>
                <a:lnTo>
                  <a:pt x="10524376" y="10660856"/>
                </a:lnTo>
                <a:lnTo>
                  <a:pt x="10516980" y="10648156"/>
                </a:lnTo>
                <a:lnTo>
                  <a:pt x="8499343" y="10648156"/>
                </a:lnTo>
                <a:lnTo>
                  <a:pt x="8414694" y="10597356"/>
                </a:lnTo>
                <a:lnTo>
                  <a:pt x="7686069" y="10597356"/>
                </a:lnTo>
                <a:lnTo>
                  <a:pt x="7638137" y="10546556"/>
                </a:lnTo>
                <a:close/>
              </a:path>
              <a:path w="13852525" h="11308715">
                <a:moveTo>
                  <a:pt x="3612099" y="9848056"/>
                </a:moveTo>
                <a:lnTo>
                  <a:pt x="3339678" y="10013156"/>
                </a:lnTo>
                <a:lnTo>
                  <a:pt x="3128616" y="11143456"/>
                </a:lnTo>
                <a:lnTo>
                  <a:pt x="3401069" y="10978356"/>
                </a:lnTo>
                <a:lnTo>
                  <a:pt x="3612099" y="9848056"/>
                </a:lnTo>
                <a:close/>
              </a:path>
              <a:path w="13852525" h="11308715">
                <a:moveTo>
                  <a:pt x="9488564" y="10851356"/>
                </a:moveTo>
                <a:lnTo>
                  <a:pt x="8556681" y="10851356"/>
                </a:lnTo>
                <a:lnTo>
                  <a:pt x="9567405" y="11143456"/>
                </a:lnTo>
                <a:lnTo>
                  <a:pt x="9488564" y="10851356"/>
                </a:lnTo>
                <a:close/>
              </a:path>
              <a:path w="13852525" h="11308715">
                <a:moveTo>
                  <a:pt x="5481518" y="9708356"/>
                </a:moveTo>
                <a:lnTo>
                  <a:pt x="5121885" y="10089356"/>
                </a:lnTo>
                <a:lnTo>
                  <a:pt x="5288310" y="11092656"/>
                </a:lnTo>
                <a:lnTo>
                  <a:pt x="5647953" y="10711656"/>
                </a:lnTo>
                <a:lnTo>
                  <a:pt x="5481518" y="9708356"/>
                </a:lnTo>
                <a:close/>
              </a:path>
              <a:path w="13852525" h="11308715">
                <a:moveTo>
                  <a:pt x="13851902" y="10571956"/>
                </a:moveTo>
                <a:lnTo>
                  <a:pt x="13158437" y="10838656"/>
                </a:lnTo>
                <a:lnTo>
                  <a:pt x="13506593" y="11029156"/>
                </a:lnTo>
                <a:lnTo>
                  <a:pt x="13851902" y="10889456"/>
                </a:lnTo>
                <a:lnTo>
                  <a:pt x="13851902" y="10571956"/>
                </a:lnTo>
                <a:close/>
              </a:path>
              <a:path w="13852525" h="11308715">
                <a:moveTo>
                  <a:pt x="6806761" y="10102056"/>
                </a:moveTo>
                <a:lnTo>
                  <a:pt x="6214962" y="10102056"/>
                </a:lnTo>
                <a:lnTo>
                  <a:pt x="6210816" y="10114756"/>
                </a:lnTo>
                <a:lnTo>
                  <a:pt x="6660446" y="10965656"/>
                </a:lnTo>
                <a:lnTo>
                  <a:pt x="6890020" y="10546556"/>
                </a:lnTo>
                <a:lnTo>
                  <a:pt x="7638137" y="10546556"/>
                </a:lnTo>
                <a:lnTo>
                  <a:pt x="7458393" y="10356056"/>
                </a:lnTo>
                <a:lnTo>
                  <a:pt x="6941610" y="10356056"/>
                </a:lnTo>
                <a:lnTo>
                  <a:pt x="6806761" y="10102056"/>
                </a:lnTo>
                <a:close/>
              </a:path>
              <a:path w="13852525" h="11308715">
                <a:moveTo>
                  <a:pt x="11697937" y="10241756"/>
                </a:moveTo>
                <a:lnTo>
                  <a:pt x="10502769" y="10483056"/>
                </a:lnTo>
                <a:lnTo>
                  <a:pt x="10933949" y="10902156"/>
                </a:lnTo>
                <a:lnTo>
                  <a:pt x="12129107" y="10660856"/>
                </a:lnTo>
                <a:lnTo>
                  <a:pt x="11697937" y="10241756"/>
                </a:lnTo>
                <a:close/>
              </a:path>
              <a:path w="13852525" h="11308715">
                <a:moveTo>
                  <a:pt x="4363898" y="9390856"/>
                </a:moveTo>
                <a:lnTo>
                  <a:pt x="4013595" y="9619456"/>
                </a:lnTo>
                <a:lnTo>
                  <a:pt x="3860447" y="10673556"/>
                </a:lnTo>
                <a:lnTo>
                  <a:pt x="4210719" y="10457656"/>
                </a:lnTo>
                <a:lnTo>
                  <a:pt x="4363898" y="9390856"/>
                </a:lnTo>
                <a:close/>
              </a:path>
              <a:path w="13852525" h="11308715">
                <a:moveTo>
                  <a:pt x="10524376" y="10660856"/>
                </a:moveTo>
                <a:lnTo>
                  <a:pt x="9441827" y="10660856"/>
                </a:lnTo>
                <a:lnTo>
                  <a:pt x="10531773" y="10673556"/>
                </a:lnTo>
                <a:lnTo>
                  <a:pt x="10524376" y="10660856"/>
                </a:lnTo>
                <a:close/>
              </a:path>
              <a:path w="13852525" h="11308715">
                <a:moveTo>
                  <a:pt x="9253203" y="10025856"/>
                </a:moveTo>
                <a:lnTo>
                  <a:pt x="7875927" y="10025856"/>
                </a:lnTo>
                <a:lnTo>
                  <a:pt x="8408372" y="10305256"/>
                </a:lnTo>
                <a:lnTo>
                  <a:pt x="8499343" y="10648156"/>
                </a:lnTo>
                <a:lnTo>
                  <a:pt x="10516980" y="10648156"/>
                </a:lnTo>
                <a:lnTo>
                  <a:pt x="10413427" y="10470356"/>
                </a:lnTo>
                <a:lnTo>
                  <a:pt x="9327893" y="10470356"/>
                </a:lnTo>
                <a:lnTo>
                  <a:pt x="8539708" y="10241756"/>
                </a:lnTo>
                <a:lnTo>
                  <a:pt x="8539834" y="10038556"/>
                </a:lnTo>
                <a:lnTo>
                  <a:pt x="9256753" y="10038556"/>
                </a:lnTo>
                <a:lnTo>
                  <a:pt x="9253203" y="10025856"/>
                </a:lnTo>
                <a:close/>
              </a:path>
              <a:path w="13852525" h="11308715">
                <a:moveTo>
                  <a:pt x="9207049" y="9860756"/>
                </a:moveTo>
                <a:lnTo>
                  <a:pt x="7259580" y="9860756"/>
                </a:lnTo>
                <a:lnTo>
                  <a:pt x="7685860" y="10254456"/>
                </a:lnTo>
                <a:lnTo>
                  <a:pt x="7686069" y="10597356"/>
                </a:lnTo>
                <a:lnTo>
                  <a:pt x="8414694" y="10597356"/>
                </a:lnTo>
                <a:lnTo>
                  <a:pt x="7822149" y="10241756"/>
                </a:lnTo>
                <a:lnTo>
                  <a:pt x="7875927" y="10025856"/>
                </a:lnTo>
                <a:lnTo>
                  <a:pt x="9253203" y="10025856"/>
                </a:lnTo>
                <a:lnTo>
                  <a:pt x="9207049" y="9860756"/>
                </a:lnTo>
                <a:close/>
              </a:path>
              <a:path w="13852525" h="11308715">
                <a:moveTo>
                  <a:pt x="13475066" y="9759156"/>
                </a:moveTo>
                <a:lnTo>
                  <a:pt x="12227920" y="10305256"/>
                </a:lnTo>
                <a:lnTo>
                  <a:pt x="12673708" y="10546556"/>
                </a:lnTo>
                <a:lnTo>
                  <a:pt x="13851902" y="10025856"/>
                </a:lnTo>
                <a:lnTo>
                  <a:pt x="13851902" y="9962356"/>
                </a:lnTo>
                <a:lnTo>
                  <a:pt x="13475066" y="9759156"/>
                </a:lnTo>
                <a:close/>
              </a:path>
              <a:path w="13852525" h="11308715">
                <a:moveTo>
                  <a:pt x="918223" y="9301956"/>
                </a:moveTo>
                <a:lnTo>
                  <a:pt x="874706" y="9314656"/>
                </a:lnTo>
                <a:lnTo>
                  <a:pt x="182915" y="10495756"/>
                </a:lnTo>
                <a:lnTo>
                  <a:pt x="226443" y="10470356"/>
                </a:lnTo>
                <a:lnTo>
                  <a:pt x="918223" y="9301956"/>
                </a:lnTo>
                <a:close/>
              </a:path>
              <a:path w="13852525" h="11308715">
                <a:moveTo>
                  <a:pt x="9256753" y="10038556"/>
                </a:moveTo>
                <a:lnTo>
                  <a:pt x="8539834" y="10038556"/>
                </a:lnTo>
                <a:lnTo>
                  <a:pt x="9147072" y="10152856"/>
                </a:lnTo>
                <a:lnTo>
                  <a:pt x="9327893" y="10470356"/>
                </a:lnTo>
                <a:lnTo>
                  <a:pt x="10413427" y="10470356"/>
                </a:lnTo>
                <a:lnTo>
                  <a:pt x="10272891" y="10229056"/>
                </a:lnTo>
                <a:lnTo>
                  <a:pt x="10279707" y="10229056"/>
                </a:lnTo>
                <a:lnTo>
                  <a:pt x="10877850" y="10076656"/>
                </a:lnTo>
                <a:lnTo>
                  <a:pt x="10113807" y="10076656"/>
                </a:lnTo>
                <a:lnTo>
                  <a:pt x="9263854" y="10063956"/>
                </a:lnTo>
                <a:lnTo>
                  <a:pt x="9256753" y="10038556"/>
                </a:lnTo>
                <a:close/>
              </a:path>
              <a:path w="13852525" h="11308715">
                <a:moveTo>
                  <a:pt x="6217188" y="9505156"/>
                </a:moveTo>
                <a:lnTo>
                  <a:pt x="5699250" y="9505156"/>
                </a:lnTo>
                <a:lnTo>
                  <a:pt x="5693554" y="9517856"/>
                </a:lnTo>
                <a:lnTo>
                  <a:pt x="5899569" y="10432256"/>
                </a:lnTo>
                <a:lnTo>
                  <a:pt x="6214962" y="10102056"/>
                </a:lnTo>
                <a:lnTo>
                  <a:pt x="6806761" y="10102056"/>
                </a:lnTo>
                <a:lnTo>
                  <a:pt x="6712367" y="9924256"/>
                </a:lnTo>
                <a:lnTo>
                  <a:pt x="6311860" y="9924256"/>
                </a:lnTo>
                <a:lnTo>
                  <a:pt x="6217188" y="9505156"/>
                </a:lnTo>
                <a:close/>
              </a:path>
              <a:path w="13852525" h="11308715">
                <a:moveTo>
                  <a:pt x="9853036" y="9543256"/>
                </a:moveTo>
                <a:lnTo>
                  <a:pt x="6729292" y="9543256"/>
                </a:lnTo>
                <a:lnTo>
                  <a:pt x="7027000" y="10025856"/>
                </a:lnTo>
                <a:lnTo>
                  <a:pt x="6941610" y="10356056"/>
                </a:lnTo>
                <a:lnTo>
                  <a:pt x="7458393" y="10356056"/>
                </a:lnTo>
                <a:lnTo>
                  <a:pt x="7158818" y="10038556"/>
                </a:lnTo>
                <a:lnTo>
                  <a:pt x="7259580" y="9860756"/>
                </a:lnTo>
                <a:lnTo>
                  <a:pt x="9207049" y="9860756"/>
                </a:lnTo>
                <a:lnTo>
                  <a:pt x="9850537" y="9809956"/>
                </a:lnTo>
                <a:lnTo>
                  <a:pt x="11233329" y="9809956"/>
                </a:lnTo>
                <a:lnTo>
                  <a:pt x="11116350" y="9695656"/>
                </a:lnTo>
                <a:lnTo>
                  <a:pt x="9943571" y="9695656"/>
                </a:lnTo>
                <a:lnTo>
                  <a:pt x="9853036" y="9543256"/>
                </a:lnTo>
                <a:close/>
              </a:path>
              <a:path w="13852525" h="11308715">
                <a:moveTo>
                  <a:pt x="1727580" y="9060656"/>
                </a:moveTo>
                <a:lnTo>
                  <a:pt x="1599951" y="9111456"/>
                </a:lnTo>
                <a:lnTo>
                  <a:pt x="979394" y="10229056"/>
                </a:lnTo>
                <a:lnTo>
                  <a:pt x="1107013" y="10190956"/>
                </a:lnTo>
                <a:lnTo>
                  <a:pt x="1727580" y="9060656"/>
                </a:lnTo>
                <a:close/>
              </a:path>
              <a:path w="13852525" h="11308715">
                <a:moveTo>
                  <a:pt x="5115655" y="8946356"/>
                </a:moveTo>
                <a:lnTo>
                  <a:pt x="4687553" y="9213056"/>
                </a:lnTo>
                <a:lnTo>
                  <a:pt x="4592258" y="10203656"/>
                </a:lnTo>
                <a:lnTo>
                  <a:pt x="5020360" y="9936956"/>
                </a:lnTo>
                <a:lnTo>
                  <a:pt x="5115655" y="8946356"/>
                </a:lnTo>
                <a:close/>
              </a:path>
              <a:path w="13852525" h="11308715">
                <a:moveTo>
                  <a:pt x="11233329" y="9809956"/>
                </a:moveTo>
                <a:lnTo>
                  <a:pt x="9850537" y="9809956"/>
                </a:lnTo>
                <a:lnTo>
                  <a:pt x="10113807" y="10076656"/>
                </a:lnTo>
                <a:lnTo>
                  <a:pt x="10877850" y="10076656"/>
                </a:lnTo>
                <a:lnTo>
                  <a:pt x="11376302" y="9949656"/>
                </a:lnTo>
                <a:lnTo>
                  <a:pt x="11233329" y="9809956"/>
                </a:lnTo>
                <a:close/>
              </a:path>
              <a:path w="13852525" h="11308715">
                <a:moveTo>
                  <a:pt x="12433862" y="9213056"/>
                </a:moveTo>
                <a:lnTo>
                  <a:pt x="11297383" y="9771856"/>
                </a:lnTo>
                <a:lnTo>
                  <a:pt x="11840833" y="10063956"/>
                </a:lnTo>
                <a:lnTo>
                  <a:pt x="12977322" y="9505156"/>
                </a:lnTo>
                <a:lnTo>
                  <a:pt x="12433862" y="9213056"/>
                </a:lnTo>
                <a:close/>
              </a:path>
              <a:path w="13852525" h="11308715">
                <a:moveTo>
                  <a:pt x="2536927" y="8832056"/>
                </a:moveTo>
                <a:lnTo>
                  <a:pt x="2325217" y="8908256"/>
                </a:lnTo>
                <a:lnTo>
                  <a:pt x="1775893" y="9975056"/>
                </a:lnTo>
                <a:lnTo>
                  <a:pt x="1987583" y="9911556"/>
                </a:lnTo>
                <a:lnTo>
                  <a:pt x="2536927" y="8832056"/>
                </a:lnTo>
                <a:close/>
              </a:path>
              <a:path w="13852525" h="11308715">
                <a:moveTo>
                  <a:pt x="10489852" y="9111456"/>
                </a:moveTo>
                <a:lnTo>
                  <a:pt x="6315661" y="9111456"/>
                </a:lnTo>
                <a:lnTo>
                  <a:pt x="6472200" y="9644856"/>
                </a:lnTo>
                <a:lnTo>
                  <a:pt x="6311860" y="9924256"/>
                </a:lnTo>
                <a:lnTo>
                  <a:pt x="6712367" y="9924256"/>
                </a:lnTo>
                <a:lnTo>
                  <a:pt x="6591003" y="9695656"/>
                </a:lnTo>
                <a:lnTo>
                  <a:pt x="6729292" y="9543256"/>
                </a:lnTo>
                <a:lnTo>
                  <a:pt x="9853036" y="9543256"/>
                </a:lnTo>
                <a:lnTo>
                  <a:pt x="9830402" y="9505156"/>
                </a:lnTo>
                <a:lnTo>
                  <a:pt x="10466644" y="9289256"/>
                </a:lnTo>
                <a:lnTo>
                  <a:pt x="11532261" y="9289256"/>
                </a:lnTo>
                <a:lnTo>
                  <a:pt x="11783015" y="9149556"/>
                </a:lnTo>
                <a:lnTo>
                  <a:pt x="10527909" y="9149556"/>
                </a:lnTo>
                <a:lnTo>
                  <a:pt x="10489852" y="9111456"/>
                </a:lnTo>
                <a:close/>
              </a:path>
              <a:path w="13852525" h="11308715">
                <a:moveTo>
                  <a:pt x="5854782" y="8819356"/>
                </a:moveTo>
                <a:lnTo>
                  <a:pt x="5368265" y="8819356"/>
                </a:lnTo>
                <a:lnTo>
                  <a:pt x="5361413" y="8821283"/>
                </a:lnTo>
                <a:lnTo>
                  <a:pt x="5324057" y="9746456"/>
                </a:lnTo>
                <a:lnTo>
                  <a:pt x="5699250" y="9505156"/>
                </a:lnTo>
                <a:lnTo>
                  <a:pt x="6217188" y="9505156"/>
                </a:lnTo>
                <a:lnTo>
                  <a:pt x="6185631" y="9365456"/>
                </a:lnTo>
                <a:lnTo>
                  <a:pt x="5832366" y="9365456"/>
                </a:lnTo>
                <a:lnTo>
                  <a:pt x="5854782" y="8819356"/>
                </a:lnTo>
                <a:close/>
              </a:path>
              <a:path w="13852525" h="11308715">
                <a:moveTo>
                  <a:pt x="3346275" y="8603456"/>
                </a:moveTo>
                <a:lnTo>
                  <a:pt x="3050472" y="8692356"/>
                </a:lnTo>
                <a:lnTo>
                  <a:pt x="2572382" y="9721056"/>
                </a:lnTo>
                <a:lnTo>
                  <a:pt x="2868174" y="9619456"/>
                </a:lnTo>
                <a:lnTo>
                  <a:pt x="3346275" y="8603456"/>
                </a:lnTo>
                <a:close/>
              </a:path>
              <a:path w="13852525" h="11308715">
                <a:moveTo>
                  <a:pt x="11532261" y="9289256"/>
                </a:moveTo>
                <a:lnTo>
                  <a:pt x="10466644" y="9289256"/>
                </a:lnTo>
                <a:lnTo>
                  <a:pt x="10798718" y="9467056"/>
                </a:lnTo>
                <a:lnTo>
                  <a:pt x="9943571" y="9695656"/>
                </a:lnTo>
                <a:lnTo>
                  <a:pt x="11116350" y="9695656"/>
                </a:lnTo>
                <a:lnTo>
                  <a:pt x="10999371" y="9581356"/>
                </a:lnTo>
                <a:lnTo>
                  <a:pt x="11007958" y="9581356"/>
                </a:lnTo>
                <a:lnTo>
                  <a:pt x="11532261" y="9289256"/>
                </a:lnTo>
                <a:close/>
              </a:path>
              <a:path w="13852525" h="11308715">
                <a:moveTo>
                  <a:pt x="4155632" y="8374856"/>
                </a:moveTo>
                <a:lnTo>
                  <a:pt x="3775727" y="8489156"/>
                </a:lnTo>
                <a:lnTo>
                  <a:pt x="3368860" y="9454356"/>
                </a:lnTo>
                <a:lnTo>
                  <a:pt x="3748765" y="9340056"/>
                </a:lnTo>
                <a:lnTo>
                  <a:pt x="4155632" y="8374856"/>
                </a:lnTo>
                <a:close/>
              </a:path>
              <a:path w="13852525" h="11308715">
                <a:moveTo>
                  <a:pt x="11727822" y="8590756"/>
                </a:moveTo>
                <a:lnTo>
                  <a:pt x="6039638" y="8590756"/>
                </a:lnTo>
                <a:lnTo>
                  <a:pt x="6052663" y="9136856"/>
                </a:lnTo>
                <a:lnTo>
                  <a:pt x="5832366" y="9365456"/>
                </a:lnTo>
                <a:lnTo>
                  <a:pt x="6185631" y="9365456"/>
                </a:lnTo>
                <a:lnTo>
                  <a:pt x="6151205" y="9213056"/>
                </a:lnTo>
                <a:lnTo>
                  <a:pt x="6315661" y="9111456"/>
                </a:lnTo>
                <a:lnTo>
                  <a:pt x="10489852" y="9111456"/>
                </a:lnTo>
                <a:lnTo>
                  <a:pt x="10362993" y="8984456"/>
                </a:lnTo>
                <a:lnTo>
                  <a:pt x="10946389" y="8603456"/>
                </a:lnTo>
                <a:lnTo>
                  <a:pt x="11714521" y="8603456"/>
                </a:lnTo>
                <a:lnTo>
                  <a:pt x="11727822" y="8590756"/>
                </a:lnTo>
                <a:close/>
              </a:path>
              <a:path w="13852525" h="11308715">
                <a:moveTo>
                  <a:pt x="13851902" y="8451056"/>
                </a:moveTo>
                <a:lnTo>
                  <a:pt x="12983206" y="9124156"/>
                </a:lnTo>
                <a:lnTo>
                  <a:pt x="13494719" y="9251156"/>
                </a:lnTo>
                <a:lnTo>
                  <a:pt x="13851902" y="8959056"/>
                </a:lnTo>
                <a:lnTo>
                  <a:pt x="13851902" y="8451056"/>
                </a:lnTo>
                <a:close/>
              </a:path>
              <a:path w="13852525" h="11308715">
                <a:moveTo>
                  <a:pt x="4964979" y="8133556"/>
                </a:moveTo>
                <a:lnTo>
                  <a:pt x="4500993" y="8285956"/>
                </a:lnTo>
                <a:lnTo>
                  <a:pt x="4165328" y="9200356"/>
                </a:lnTo>
                <a:lnTo>
                  <a:pt x="4629345" y="9047956"/>
                </a:lnTo>
                <a:lnTo>
                  <a:pt x="4964979" y="8133556"/>
                </a:lnTo>
                <a:close/>
              </a:path>
              <a:path w="13852525" h="11308715">
                <a:moveTo>
                  <a:pt x="11714521" y="8603456"/>
                </a:moveTo>
                <a:lnTo>
                  <a:pt x="10946389" y="8603456"/>
                </a:lnTo>
                <a:lnTo>
                  <a:pt x="11327843" y="8692356"/>
                </a:lnTo>
                <a:lnTo>
                  <a:pt x="10527909" y="9149556"/>
                </a:lnTo>
                <a:lnTo>
                  <a:pt x="11783015" y="9149556"/>
                </a:lnTo>
                <a:lnTo>
                  <a:pt x="12033769" y="9009856"/>
                </a:lnTo>
                <a:lnTo>
                  <a:pt x="11558349" y="8743156"/>
                </a:lnTo>
                <a:lnTo>
                  <a:pt x="11568202" y="8743156"/>
                </a:lnTo>
                <a:lnTo>
                  <a:pt x="11714521" y="8603456"/>
                </a:lnTo>
                <a:close/>
              </a:path>
              <a:path w="13852525" h="11308715">
                <a:moveTo>
                  <a:pt x="12901020" y="7993856"/>
                </a:moveTo>
                <a:lnTo>
                  <a:pt x="11907469" y="8857456"/>
                </a:lnTo>
                <a:lnTo>
                  <a:pt x="12531471" y="8997156"/>
                </a:lnTo>
                <a:lnTo>
                  <a:pt x="13525022" y="8133556"/>
                </a:lnTo>
                <a:lnTo>
                  <a:pt x="12901020" y="7993856"/>
                </a:lnTo>
                <a:close/>
              </a:path>
              <a:path w="13852525" h="11308715">
                <a:moveTo>
                  <a:pt x="5725039" y="8070056"/>
                </a:moveTo>
                <a:lnTo>
                  <a:pt x="5233589" y="8070056"/>
                </a:lnTo>
                <a:lnTo>
                  <a:pt x="5226178" y="8070286"/>
                </a:lnTo>
                <a:lnTo>
                  <a:pt x="4961838" y="8933656"/>
                </a:lnTo>
                <a:lnTo>
                  <a:pt x="5361413" y="8821283"/>
                </a:lnTo>
                <a:lnTo>
                  <a:pt x="5361491" y="8819356"/>
                </a:lnTo>
                <a:lnTo>
                  <a:pt x="5854782" y="8819356"/>
                </a:lnTo>
                <a:lnTo>
                  <a:pt x="5858953" y="8717756"/>
                </a:lnTo>
                <a:lnTo>
                  <a:pt x="5526627" y="8717756"/>
                </a:lnTo>
                <a:lnTo>
                  <a:pt x="5725039" y="8070056"/>
                </a:lnTo>
                <a:close/>
              </a:path>
              <a:path w="13852525" h="11308715">
                <a:moveTo>
                  <a:pt x="5368265" y="8819356"/>
                </a:moveTo>
                <a:lnTo>
                  <a:pt x="5361491" y="8819356"/>
                </a:lnTo>
                <a:lnTo>
                  <a:pt x="5361413" y="8821283"/>
                </a:lnTo>
                <a:lnTo>
                  <a:pt x="5368265" y="8819356"/>
                </a:lnTo>
                <a:close/>
              </a:path>
              <a:path w="13852525" h="11308715">
                <a:moveTo>
                  <a:pt x="11034068" y="8031956"/>
                </a:moveTo>
                <a:lnTo>
                  <a:pt x="5911840" y="8031956"/>
                </a:lnTo>
                <a:lnTo>
                  <a:pt x="5788671" y="8552656"/>
                </a:lnTo>
                <a:lnTo>
                  <a:pt x="5526627" y="8717756"/>
                </a:lnTo>
                <a:lnTo>
                  <a:pt x="5858953" y="8717756"/>
                </a:lnTo>
                <a:lnTo>
                  <a:pt x="5861559" y="8654256"/>
                </a:lnTo>
                <a:lnTo>
                  <a:pt x="6039638" y="8590756"/>
                </a:lnTo>
                <a:lnTo>
                  <a:pt x="11727822" y="8590756"/>
                </a:lnTo>
                <a:lnTo>
                  <a:pt x="11887442" y="8438356"/>
                </a:lnTo>
                <a:lnTo>
                  <a:pt x="10969582" y="8438356"/>
                </a:lnTo>
                <a:lnTo>
                  <a:pt x="10761483" y="8324056"/>
                </a:lnTo>
                <a:lnTo>
                  <a:pt x="11034068" y="8031956"/>
                </a:lnTo>
                <a:close/>
              </a:path>
              <a:path w="13852525" h="11308715">
                <a:moveTo>
                  <a:pt x="11954577" y="7790656"/>
                </a:moveTo>
                <a:lnTo>
                  <a:pt x="11654158" y="7790656"/>
                </a:lnTo>
                <a:lnTo>
                  <a:pt x="10969582" y="8438356"/>
                </a:lnTo>
                <a:lnTo>
                  <a:pt x="11887442" y="8438356"/>
                </a:lnTo>
                <a:lnTo>
                  <a:pt x="12446113" y="7904956"/>
                </a:lnTo>
                <a:lnTo>
                  <a:pt x="11954577" y="7790656"/>
                </a:lnTo>
                <a:close/>
              </a:path>
              <a:path w="13852525" h="11308715">
                <a:moveTo>
                  <a:pt x="979970" y="7396956"/>
                </a:moveTo>
                <a:lnTo>
                  <a:pt x="935060" y="7409656"/>
                </a:lnTo>
                <a:lnTo>
                  <a:pt x="0" y="8349456"/>
                </a:lnTo>
                <a:lnTo>
                  <a:pt x="44899" y="8336756"/>
                </a:lnTo>
                <a:lnTo>
                  <a:pt x="979970" y="7396956"/>
                </a:lnTo>
                <a:close/>
              </a:path>
              <a:path w="13852525" h="11308715">
                <a:moveTo>
                  <a:pt x="1789442" y="7384256"/>
                </a:moveTo>
                <a:lnTo>
                  <a:pt x="1660137" y="7396956"/>
                </a:lnTo>
                <a:lnTo>
                  <a:pt x="804153" y="8298656"/>
                </a:lnTo>
                <a:lnTo>
                  <a:pt x="933427" y="8298656"/>
                </a:lnTo>
                <a:lnTo>
                  <a:pt x="1789442" y="7384256"/>
                </a:lnTo>
                <a:close/>
              </a:path>
              <a:path w="13852525" h="11308715">
                <a:moveTo>
                  <a:pt x="2598884" y="7371556"/>
                </a:moveTo>
                <a:lnTo>
                  <a:pt x="2385225" y="7384256"/>
                </a:lnTo>
                <a:lnTo>
                  <a:pt x="1608296" y="8260556"/>
                </a:lnTo>
                <a:lnTo>
                  <a:pt x="1821944" y="8247856"/>
                </a:lnTo>
                <a:lnTo>
                  <a:pt x="2598884" y="7371556"/>
                </a:lnTo>
                <a:close/>
              </a:path>
              <a:path w="13852525" h="11308715">
                <a:moveTo>
                  <a:pt x="3408325" y="7358856"/>
                </a:moveTo>
                <a:lnTo>
                  <a:pt x="3110324" y="7371556"/>
                </a:lnTo>
                <a:lnTo>
                  <a:pt x="2412450" y="8222456"/>
                </a:lnTo>
                <a:lnTo>
                  <a:pt x="2710472" y="8197056"/>
                </a:lnTo>
                <a:lnTo>
                  <a:pt x="3408325" y="7358856"/>
                </a:lnTo>
                <a:close/>
              </a:path>
              <a:path w="13852525" h="11308715">
                <a:moveTo>
                  <a:pt x="4217798" y="7346156"/>
                </a:moveTo>
                <a:lnTo>
                  <a:pt x="3835401" y="7358856"/>
                </a:lnTo>
                <a:lnTo>
                  <a:pt x="3216593" y="8171656"/>
                </a:lnTo>
                <a:lnTo>
                  <a:pt x="3598979" y="8158956"/>
                </a:lnTo>
                <a:lnTo>
                  <a:pt x="4217798" y="7346156"/>
                </a:lnTo>
                <a:close/>
              </a:path>
              <a:path w="13852525" h="11308715">
                <a:moveTo>
                  <a:pt x="5027260" y="7333456"/>
                </a:moveTo>
                <a:lnTo>
                  <a:pt x="4560478" y="7346156"/>
                </a:lnTo>
                <a:lnTo>
                  <a:pt x="4020736" y="8133556"/>
                </a:lnTo>
                <a:lnTo>
                  <a:pt x="4487507" y="8108156"/>
                </a:lnTo>
                <a:lnTo>
                  <a:pt x="5027260" y="7333456"/>
                </a:lnTo>
                <a:close/>
              </a:path>
              <a:path w="13852525" h="11308715">
                <a:moveTo>
                  <a:pt x="11539800" y="6863556"/>
                </a:moveTo>
                <a:lnTo>
                  <a:pt x="5944960" y="6863556"/>
                </a:lnTo>
                <a:lnTo>
                  <a:pt x="6091165" y="6939756"/>
                </a:lnTo>
                <a:lnTo>
                  <a:pt x="5750913" y="7320756"/>
                </a:lnTo>
                <a:lnTo>
                  <a:pt x="5465456" y="7333456"/>
                </a:lnTo>
                <a:lnTo>
                  <a:pt x="5285566" y="7333456"/>
                </a:lnTo>
                <a:lnTo>
                  <a:pt x="4824879" y="8082756"/>
                </a:lnTo>
                <a:lnTo>
                  <a:pt x="5226178" y="8070286"/>
                </a:lnTo>
                <a:lnTo>
                  <a:pt x="5226249" y="8070056"/>
                </a:lnTo>
                <a:lnTo>
                  <a:pt x="5725039" y="8070056"/>
                </a:lnTo>
                <a:lnTo>
                  <a:pt x="5732820" y="8044656"/>
                </a:lnTo>
                <a:lnTo>
                  <a:pt x="5911840" y="8031956"/>
                </a:lnTo>
                <a:lnTo>
                  <a:pt x="11034068" y="8031956"/>
                </a:lnTo>
                <a:lnTo>
                  <a:pt x="11045920" y="8019256"/>
                </a:lnTo>
                <a:lnTo>
                  <a:pt x="5405133" y="8019256"/>
                </a:lnTo>
                <a:lnTo>
                  <a:pt x="5764379" y="7435056"/>
                </a:lnTo>
                <a:lnTo>
                  <a:pt x="11064475" y="7435056"/>
                </a:lnTo>
                <a:lnTo>
                  <a:pt x="11337424" y="6927056"/>
                </a:lnTo>
                <a:lnTo>
                  <a:pt x="11539800" y="6863556"/>
                </a:lnTo>
                <a:close/>
              </a:path>
              <a:path w="13852525" h="11308715">
                <a:moveTo>
                  <a:pt x="5233589" y="8070056"/>
                </a:moveTo>
                <a:lnTo>
                  <a:pt x="5226249" y="8070056"/>
                </a:lnTo>
                <a:lnTo>
                  <a:pt x="5226178" y="8070286"/>
                </a:lnTo>
                <a:lnTo>
                  <a:pt x="5233589" y="8070056"/>
                </a:lnTo>
                <a:close/>
              </a:path>
              <a:path w="13852525" h="11308715">
                <a:moveTo>
                  <a:pt x="11064475" y="7435056"/>
                </a:moveTo>
                <a:lnTo>
                  <a:pt x="5764379" y="7435056"/>
                </a:lnTo>
                <a:lnTo>
                  <a:pt x="5932290" y="7473156"/>
                </a:lnTo>
                <a:lnTo>
                  <a:pt x="5689010" y="7930356"/>
                </a:lnTo>
                <a:lnTo>
                  <a:pt x="5405133" y="8019256"/>
                </a:lnTo>
                <a:lnTo>
                  <a:pt x="11045920" y="8019256"/>
                </a:lnTo>
                <a:lnTo>
                  <a:pt x="11247395" y="7803356"/>
                </a:lnTo>
                <a:lnTo>
                  <a:pt x="11654158" y="7790656"/>
                </a:lnTo>
                <a:lnTo>
                  <a:pt x="11954577" y="7790656"/>
                </a:lnTo>
                <a:lnTo>
                  <a:pt x="11899962" y="7777956"/>
                </a:lnTo>
                <a:lnTo>
                  <a:pt x="11910475" y="7777956"/>
                </a:lnTo>
                <a:lnTo>
                  <a:pt x="11996729" y="7638256"/>
                </a:lnTo>
                <a:lnTo>
                  <a:pt x="11228548" y="7638256"/>
                </a:lnTo>
                <a:lnTo>
                  <a:pt x="10989414" y="7574756"/>
                </a:lnTo>
                <a:lnTo>
                  <a:pt x="11064475" y="7435056"/>
                </a:lnTo>
                <a:close/>
              </a:path>
              <a:path w="13852525" h="11308715">
                <a:moveTo>
                  <a:pt x="13715058" y="6647656"/>
                </a:moveTo>
                <a:lnTo>
                  <a:pt x="13049916" y="6673056"/>
                </a:lnTo>
                <a:lnTo>
                  <a:pt x="12278526" y="7790656"/>
                </a:lnTo>
                <a:lnTo>
                  <a:pt x="12943658" y="7765256"/>
                </a:lnTo>
                <a:lnTo>
                  <a:pt x="13715058" y="6647656"/>
                </a:lnTo>
                <a:close/>
              </a:path>
              <a:path w="13852525" h="11308715">
                <a:moveTo>
                  <a:pt x="13851902" y="7219156"/>
                </a:moveTo>
                <a:lnTo>
                  <a:pt x="13431926" y="7765256"/>
                </a:lnTo>
                <a:lnTo>
                  <a:pt x="13851902" y="7752556"/>
                </a:lnTo>
                <a:lnTo>
                  <a:pt x="13851902" y="7219156"/>
                </a:lnTo>
                <a:close/>
              </a:path>
              <a:path w="13852525" h="11308715">
                <a:moveTo>
                  <a:pt x="12514256" y="6800056"/>
                </a:moveTo>
                <a:lnTo>
                  <a:pt x="11742176" y="6800056"/>
                </a:lnTo>
                <a:lnTo>
                  <a:pt x="11228548" y="7638256"/>
                </a:lnTo>
                <a:lnTo>
                  <a:pt x="11996729" y="7638256"/>
                </a:lnTo>
                <a:lnTo>
                  <a:pt x="12514256" y="6800056"/>
                </a:lnTo>
                <a:close/>
              </a:path>
              <a:path w="13852525" h="11308715">
                <a:moveTo>
                  <a:pt x="5518683" y="6653162"/>
                </a:moveTo>
                <a:lnTo>
                  <a:pt x="4909473" y="7244556"/>
                </a:lnTo>
                <a:lnTo>
                  <a:pt x="5292969" y="7333456"/>
                </a:lnTo>
                <a:lnTo>
                  <a:pt x="5465456" y="7333456"/>
                </a:lnTo>
                <a:lnTo>
                  <a:pt x="5944960" y="6863556"/>
                </a:lnTo>
                <a:lnTo>
                  <a:pt x="11539800" y="6863556"/>
                </a:lnTo>
                <a:lnTo>
                  <a:pt x="11742176" y="6800056"/>
                </a:lnTo>
                <a:lnTo>
                  <a:pt x="12514256" y="6800056"/>
                </a:lnTo>
                <a:lnTo>
                  <a:pt x="12529939" y="6774656"/>
                </a:lnTo>
                <a:lnTo>
                  <a:pt x="11020240" y="6774656"/>
                </a:lnTo>
                <a:lnTo>
                  <a:pt x="11026344" y="6749256"/>
                </a:lnTo>
                <a:lnTo>
                  <a:pt x="5960991" y="6749256"/>
                </a:lnTo>
                <a:lnTo>
                  <a:pt x="5693135" y="6685756"/>
                </a:lnTo>
                <a:lnTo>
                  <a:pt x="5737997" y="6660356"/>
                </a:lnTo>
                <a:lnTo>
                  <a:pt x="5531297" y="6660356"/>
                </a:lnTo>
                <a:lnTo>
                  <a:pt x="5518683" y="6653162"/>
                </a:lnTo>
                <a:close/>
              </a:path>
              <a:path w="13852525" h="11308715">
                <a:moveTo>
                  <a:pt x="4847957" y="6482556"/>
                </a:moveTo>
                <a:lnTo>
                  <a:pt x="4151925" y="7079456"/>
                </a:lnTo>
                <a:lnTo>
                  <a:pt x="4590069" y="7181056"/>
                </a:lnTo>
                <a:lnTo>
                  <a:pt x="5286111" y="6584156"/>
                </a:lnTo>
                <a:lnTo>
                  <a:pt x="4847957" y="6482556"/>
                </a:lnTo>
                <a:close/>
              </a:path>
              <a:path w="13852525" h="11308715">
                <a:moveTo>
                  <a:pt x="4171558" y="6304756"/>
                </a:moveTo>
                <a:lnTo>
                  <a:pt x="3394367" y="6914356"/>
                </a:lnTo>
                <a:lnTo>
                  <a:pt x="3753519" y="7003256"/>
                </a:lnTo>
                <a:lnTo>
                  <a:pt x="4530731" y="6393656"/>
                </a:lnTo>
                <a:lnTo>
                  <a:pt x="4171558" y="6304756"/>
                </a:lnTo>
                <a:close/>
              </a:path>
              <a:path w="13852525" h="11308715">
                <a:moveTo>
                  <a:pt x="3495139" y="6139656"/>
                </a:moveTo>
                <a:lnTo>
                  <a:pt x="2636809" y="6761956"/>
                </a:lnTo>
                <a:lnTo>
                  <a:pt x="2916968" y="6825456"/>
                </a:lnTo>
                <a:lnTo>
                  <a:pt x="3775330" y="6203156"/>
                </a:lnTo>
                <a:lnTo>
                  <a:pt x="3495139" y="6139656"/>
                </a:lnTo>
                <a:close/>
              </a:path>
              <a:path w="13852525" h="11308715">
                <a:moveTo>
                  <a:pt x="12278779" y="5809456"/>
                </a:moveTo>
                <a:lnTo>
                  <a:pt x="11571134" y="5809456"/>
                </a:lnTo>
                <a:lnTo>
                  <a:pt x="11275332" y="6774656"/>
                </a:lnTo>
                <a:lnTo>
                  <a:pt x="12529939" y="6774656"/>
                </a:lnTo>
                <a:lnTo>
                  <a:pt x="12561304" y="6723856"/>
                </a:lnTo>
                <a:lnTo>
                  <a:pt x="11986744" y="6723856"/>
                </a:lnTo>
                <a:lnTo>
                  <a:pt x="11997286" y="6723626"/>
                </a:lnTo>
                <a:lnTo>
                  <a:pt x="12278779" y="5809456"/>
                </a:lnTo>
                <a:close/>
              </a:path>
              <a:path w="13852525" h="11308715">
                <a:moveTo>
                  <a:pt x="11117907" y="6368256"/>
                </a:moveTo>
                <a:lnTo>
                  <a:pt x="6253903" y="6368256"/>
                </a:lnTo>
                <a:lnTo>
                  <a:pt x="6369868" y="6482556"/>
                </a:lnTo>
                <a:lnTo>
                  <a:pt x="5960991" y="6749256"/>
                </a:lnTo>
                <a:lnTo>
                  <a:pt x="11026344" y="6749256"/>
                </a:lnTo>
                <a:lnTo>
                  <a:pt x="11117907" y="6368256"/>
                </a:lnTo>
                <a:close/>
              </a:path>
              <a:path w="13852525" h="11308715">
                <a:moveTo>
                  <a:pt x="11997286" y="6723626"/>
                </a:moveTo>
                <a:lnTo>
                  <a:pt x="11986744" y="6723856"/>
                </a:lnTo>
                <a:lnTo>
                  <a:pt x="11997215" y="6723856"/>
                </a:lnTo>
                <a:lnTo>
                  <a:pt x="11997286" y="6723626"/>
                </a:lnTo>
                <a:close/>
              </a:path>
              <a:path w="13852525" h="11308715">
                <a:moveTo>
                  <a:pt x="12569146" y="6711156"/>
                </a:moveTo>
                <a:lnTo>
                  <a:pt x="11997286" y="6723626"/>
                </a:lnTo>
                <a:lnTo>
                  <a:pt x="11997215" y="6723856"/>
                </a:lnTo>
                <a:lnTo>
                  <a:pt x="12561304" y="6723856"/>
                </a:lnTo>
                <a:lnTo>
                  <a:pt x="12569146" y="6711156"/>
                </a:lnTo>
                <a:close/>
              </a:path>
              <a:path w="13852525" h="11308715">
                <a:moveTo>
                  <a:pt x="5524355" y="6647656"/>
                </a:moveTo>
                <a:lnTo>
                  <a:pt x="5518683" y="6653162"/>
                </a:lnTo>
                <a:lnTo>
                  <a:pt x="5531297" y="6660356"/>
                </a:lnTo>
                <a:lnTo>
                  <a:pt x="5524355" y="6647656"/>
                </a:lnTo>
                <a:close/>
              </a:path>
              <a:path w="13852525" h="11308715">
                <a:moveTo>
                  <a:pt x="5760427" y="6647656"/>
                </a:moveTo>
                <a:lnTo>
                  <a:pt x="5524355" y="6647656"/>
                </a:lnTo>
                <a:lnTo>
                  <a:pt x="5531297" y="6660356"/>
                </a:lnTo>
                <a:lnTo>
                  <a:pt x="5737997" y="6660356"/>
                </a:lnTo>
                <a:lnTo>
                  <a:pt x="5760427" y="6647656"/>
                </a:lnTo>
                <a:close/>
              </a:path>
              <a:path w="13852525" h="11308715">
                <a:moveTo>
                  <a:pt x="6424317" y="5606831"/>
                </a:moveTo>
                <a:lnTo>
                  <a:pt x="5657293" y="5809456"/>
                </a:lnTo>
                <a:lnTo>
                  <a:pt x="5922374" y="6063456"/>
                </a:lnTo>
                <a:lnTo>
                  <a:pt x="5916343" y="6063456"/>
                </a:lnTo>
                <a:lnTo>
                  <a:pt x="5197244" y="6469856"/>
                </a:lnTo>
                <a:lnTo>
                  <a:pt x="5518683" y="6653162"/>
                </a:lnTo>
                <a:lnTo>
                  <a:pt x="5524355" y="6647656"/>
                </a:lnTo>
                <a:lnTo>
                  <a:pt x="5760427" y="6647656"/>
                </a:lnTo>
                <a:lnTo>
                  <a:pt x="6253903" y="6368256"/>
                </a:lnTo>
                <a:lnTo>
                  <a:pt x="11117907" y="6368256"/>
                </a:lnTo>
                <a:lnTo>
                  <a:pt x="11142323" y="6266656"/>
                </a:lnTo>
                <a:lnTo>
                  <a:pt x="6296677" y="6266656"/>
                </a:lnTo>
                <a:lnTo>
                  <a:pt x="6063354" y="6139656"/>
                </a:lnTo>
                <a:lnTo>
                  <a:pt x="6663200" y="5987256"/>
                </a:lnTo>
                <a:lnTo>
                  <a:pt x="10839816" y="5987256"/>
                </a:lnTo>
                <a:lnTo>
                  <a:pt x="10837873" y="5898356"/>
                </a:lnTo>
                <a:lnTo>
                  <a:pt x="6728318" y="5898356"/>
                </a:lnTo>
                <a:lnTo>
                  <a:pt x="6543162" y="5720556"/>
                </a:lnTo>
                <a:lnTo>
                  <a:pt x="7526064" y="5720556"/>
                </a:lnTo>
                <a:lnTo>
                  <a:pt x="7221518" y="5657056"/>
                </a:lnTo>
                <a:lnTo>
                  <a:pt x="7199043" y="5618956"/>
                </a:lnTo>
                <a:lnTo>
                  <a:pt x="6431280" y="5618956"/>
                </a:lnTo>
                <a:lnTo>
                  <a:pt x="6424317" y="5606831"/>
                </a:lnTo>
                <a:close/>
              </a:path>
              <a:path w="13852525" h="11308715">
                <a:moveTo>
                  <a:pt x="2818762" y="5961856"/>
                </a:moveTo>
                <a:lnTo>
                  <a:pt x="1879251" y="6596856"/>
                </a:lnTo>
                <a:lnTo>
                  <a:pt x="2080439" y="6634956"/>
                </a:lnTo>
                <a:lnTo>
                  <a:pt x="3019960" y="5999956"/>
                </a:lnTo>
                <a:lnTo>
                  <a:pt x="2818762" y="5961856"/>
                </a:lnTo>
                <a:close/>
              </a:path>
              <a:path w="13852525" h="11308715">
                <a:moveTo>
                  <a:pt x="13512185" y="5123656"/>
                </a:moveTo>
                <a:lnTo>
                  <a:pt x="12850645" y="5326856"/>
                </a:lnTo>
                <a:lnTo>
                  <a:pt x="12369675" y="6634956"/>
                </a:lnTo>
                <a:lnTo>
                  <a:pt x="13031205" y="6431756"/>
                </a:lnTo>
                <a:lnTo>
                  <a:pt x="13512185" y="5123656"/>
                </a:lnTo>
                <a:close/>
              </a:path>
              <a:path w="13852525" h="11308715">
                <a:moveTo>
                  <a:pt x="2142343" y="5784056"/>
                </a:moveTo>
                <a:lnTo>
                  <a:pt x="1121683" y="6431756"/>
                </a:lnTo>
                <a:lnTo>
                  <a:pt x="1243888" y="6457156"/>
                </a:lnTo>
                <a:lnTo>
                  <a:pt x="2264569" y="5809456"/>
                </a:lnTo>
                <a:lnTo>
                  <a:pt x="2142343" y="5784056"/>
                </a:lnTo>
                <a:close/>
              </a:path>
              <a:path w="13852525" h="11308715">
                <a:moveTo>
                  <a:pt x="5331094" y="5733256"/>
                </a:moveTo>
                <a:lnTo>
                  <a:pt x="4534301" y="6126956"/>
                </a:lnTo>
                <a:lnTo>
                  <a:pt x="4916153" y="6330156"/>
                </a:lnTo>
                <a:lnTo>
                  <a:pt x="5712935" y="5936456"/>
                </a:lnTo>
                <a:lnTo>
                  <a:pt x="5331094" y="5733256"/>
                </a:lnTo>
                <a:close/>
              </a:path>
              <a:path w="13852525" h="11308715">
                <a:moveTo>
                  <a:pt x="13851902" y="5530056"/>
                </a:moveTo>
                <a:lnTo>
                  <a:pt x="13523546" y="6304756"/>
                </a:lnTo>
                <a:lnTo>
                  <a:pt x="13851902" y="6203156"/>
                </a:lnTo>
                <a:lnTo>
                  <a:pt x="13851902" y="5530056"/>
                </a:lnTo>
                <a:close/>
              </a:path>
              <a:path w="13852525" h="11308715">
                <a:moveTo>
                  <a:pt x="1509179" y="5618956"/>
                </a:moveTo>
                <a:lnTo>
                  <a:pt x="1465955" y="5618956"/>
                </a:lnTo>
                <a:lnTo>
                  <a:pt x="364135" y="6266656"/>
                </a:lnTo>
                <a:lnTo>
                  <a:pt x="407359" y="6266656"/>
                </a:lnTo>
                <a:lnTo>
                  <a:pt x="1509179" y="5618956"/>
                </a:lnTo>
                <a:close/>
              </a:path>
              <a:path w="13852525" h="11308715">
                <a:moveTo>
                  <a:pt x="11840169" y="4882356"/>
                </a:moveTo>
                <a:lnTo>
                  <a:pt x="11137440" y="4882356"/>
                </a:lnTo>
                <a:lnTo>
                  <a:pt x="11093704" y="5898356"/>
                </a:lnTo>
                <a:lnTo>
                  <a:pt x="10839816" y="5987256"/>
                </a:lnTo>
                <a:lnTo>
                  <a:pt x="6663200" y="5987256"/>
                </a:lnTo>
                <a:lnTo>
                  <a:pt x="6742904" y="6126956"/>
                </a:lnTo>
                <a:lnTo>
                  <a:pt x="6296677" y="6266656"/>
                </a:lnTo>
                <a:lnTo>
                  <a:pt x="11142323" y="6266656"/>
                </a:lnTo>
                <a:lnTo>
                  <a:pt x="11197261" y="6038056"/>
                </a:lnTo>
                <a:lnTo>
                  <a:pt x="11571134" y="5809456"/>
                </a:lnTo>
                <a:lnTo>
                  <a:pt x="12278779" y="5809456"/>
                </a:lnTo>
                <a:lnTo>
                  <a:pt x="12321796" y="5669756"/>
                </a:lnTo>
                <a:lnTo>
                  <a:pt x="11797054" y="5669756"/>
                </a:lnTo>
                <a:lnTo>
                  <a:pt x="11806857" y="5666748"/>
                </a:lnTo>
                <a:lnTo>
                  <a:pt x="11840169" y="4882356"/>
                </a:lnTo>
                <a:close/>
              </a:path>
              <a:path w="13852525" h="11308715">
                <a:moveTo>
                  <a:pt x="4745855" y="5390356"/>
                </a:moveTo>
                <a:lnTo>
                  <a:pt x="3871369" y="5784056"/>
                </a:lnTo>
                <a:lnTo>
                  <a:pt x="4184595" y="5949156"/>
                </a:lnTo>
                <a:lnTo>
                  <a:pt x="5059081" y="5568156"/>
                </a:lnTo>
                <a:lnTo>
                  <a:pt x="4745855" y="5390356"/>
                </a:lnTo>
                <a:close/>
              </a:path>
              <a:path w="13852525" h="11308715">
                <a:moveTo>
                  <a:pt x="7526064" y="5720556"/>
                </a:moveTo>
                <a:lnTo>
                  <a:pt x="7139688" y="5720556"/>
                </a:lnTo>
                <a:lnTo>
                  <a:pt x="7179875" y="5872956"/>
                </a:lnTo>
                <a:lnTo>
                  <a:pt x="6728318" y="5898356"/>
                </a:lnTo>
                <a:lnTo>
                  <a:pt x="10837873" y="5898356"/>
                </a:lnTo>
                <a:lnTo>
                  <a:pt x="10834542" y="5745956"/>
                </a:lnTo>
                <a:lnTo>
                  <a:pt x="7647882" y="5745956"/>
                </a:lnTo>
                <a:lnTo>
                  <a:pt x="7526064" y="5720556"/>
                </a:lnTo>
                <a:close/>
              </a:path>
              <a:path w="13852525" h="11308715">
                <a:moveTo>
                  <a:pt x="7709259" y="5441156"/>
                </a:moveTo>
                <a:lnTo>
                  <a:pt x="7094160" y="5441156"/>
                </a:lnTo>
                <a:lnTo>
                  <a:pt x="7647651" y="5593556"/>
                </a:lnTo>
                <a:lnTo>
                  <a:pt x="7647882" y="5745956"/>
                </a:lnTo>
                <a:lnTo>
                  <a:pt x="10834542" y="5745956"/>
                </a:lnTo>
                <a:lnTo>
                  <a:pt x="10831212" y="5593556"/>
                </a:lnTo>
                <a:lnTo>
                  <a:pt x="7807228" y="5593556"/>
                </a:lnTo>
                <a:lnTo>
                  <a:pt x="7739743" y="5555456"/>
                </a:lnTo>
                <a:lnTo>
                  <a:pt x="7709259" y="5441156"/>
                </a:lnTo>
                <a:close/>
              </a:path>
              <a:path w="13852525" h="11308715">
                <a:moveTo>
                  <a:pt x="11806857" y="5666748"/>
                </a:moveTo>
                <a:lnTo>
                  <a:pt x="11797054" y="5669756"/>
                </a:lnTo>
                <a:lnTo>
                  <a:pt x="11806729" y="5669756"/>
                </a:lnTo>
                <a:lnTo>
                  <a:pt x="11806857" y="5666748"/>
                </a:lnTo>
                <a:close/>
              </a:path>
              <a:path w="13852525" h="11308715">
                <a:moveTo>
                  <a:pt x="12376544" y="5491956"/>
                </a:moveTo>
                <a:lnTo>
                  <a:pt x="11806857" y="5666748"/>
                </a:lnTo>
                <a:lnTo>
                  <a:pt x="11806729" y="5669756"/>
                </a:lnTo>
                <a:lnTo>
                  <a:pt x="12321796" y="5669756"/>
                </a:lnTo>
                <a:lnTo>
                  <a:pt x="12376544" y="5491956"/>
                </a:lnTo>
                <a:close/>
              </a:path>
              <a:path w="13852525" h="11308715">
                <a:moveTo>
                  <a:pt x="6426495" y="5606256"/>
                </a:moveTo>
                <a:lnTo>
                  <a:pt x="6424317" y="5606831"/>
                </a:lnTo>
                <a:lnTo>
                  <a:pt x="6431280" y="5618956"/>
                </a:lnTo>
                <a:lnTo>
                  <a:pt x="6426495" y="5606256"/>
                </a:lnTo>
                <a:close/>
              </a:path>
              <a:path w="13852525" h="11308715">
                <a:moveTo>
                  <a:pt x="7191551" y="5606256"/>
                </a:moveTo>
                <a:lnTo>
                  <a:pt x="6426495" y="5606256"/>
                </a:lnTo>
                <a:lnTo>
                  <a:pt x="6431280" y="5618956"/>
                </a:lnTo>
                <a:lnTo>
                  <a:pt x="7199043" y="5618956"/>
                </a:lnTo>
                <a:lnTo>
                  <a:pt x="7191551" y="5606256"/>
                </a:lnTo>
                <a:close/>
              </a:path>
              <a:path w="13852525" h="11308715">
                <a:moveTo>
                  <a:pt x="7013797" y="5301456"/>
                </a:moveTo>
                <a:lnTo>
                  <a:pt x="6248940" y="5301456"/>
                </a:lnTo>
                <a:lnTo>
                  <a:pt x="6424317" y="5606831"/>
                </a:lnTo>
                <a:lnTo>
                  <a:pt x="6426495" y="5606256"/>
                </a:lnTo>
                <a:lnTo>
                  <a:pt x="7191551" y="5606256"/>
                </a:lnTo>
                <a:lnTo>
                  <a:pt x="7094160" y="5441156"/>
                </a:lnTo>
                <a:lnTo>
                  <a:pt x="7709259" y="5441156"/>
                </a:lnTo>
                <a:lnTo>
                  <a:pt x="7675389" y="5314156"/>
                </a:lnTo>
                <a:lnTo>
                  <a:pt x="7017210" y="5314156"/>
                </a:lnTo>
                <a:lnTo>
                  <a:pt x="7013797" y="5301456"/>
                </a:lnTo>
                <a:close/>
              </a:path>
              <a:path w="13852525" h="11308715">
                <a:moveTo>
                  <a:pt x="5966362" y="5149056"/>
                </a:moveTo>
                <a:lnTo>
                  <a:pt x="5127917" y="5314156"/>
                </a:lnTo>
                <a:lnTo>
                  <a:pt x="5431122" y="5606256"/>
                </a:lnTo>
                <a:lnTo>
                  <a:pt x="6269568" y="5441156"/>
                </a:lnTo>
                <a:lnTo>
                  <a:pt x="5966362" y="5149056"/>
                </a:lnTo>
                <a:close/>
              </a:path>
              <a:path w="13852525" h="11308715">
                <a:moveTo>
                  <a:pt x="10824828" y="5301456"/>
                </a:moveTo>
                <a:lnTo>
                  <a:pt x="7013912" y="5301456"/>
                </a:lnTo>
                <a:lnTo>
                  <a:pt x="7017210" y="5314156"/>
                </a:lnTo>
                <a:lnTo>
                  <a:pt x="7675389" y="5314156"/>
                </a:lnTo>
                <a:lnTo>
                  <a:pt x="7851561" y="5428456"/>
                </a:lnTo>
                <a:lnTo>
                  <a:pt x="7807228" y="5593556"/>
                </a:lnTo>
                <a:lnTo>
                  <a:pt x="10831212" y="5593556"/>
                </a:lnTo>
                <a:lnTo>
                  <a:pt x="10824828" y="5301456"/>
                </a:lnTo>
                <a:close/>
              </a:path>
              <a:path w="13852525" h="11308715">
                <a:moveTo>
                  <a:pt x="4160606" y="5060156"/>
                </a:moveTo>
                <a:lnTo>
                  <a:pt x="3208425" y="5428456"/>
                </a:lnTo>
                <a:lnTo>
                  <a:pt x="3453025" y="5568156"/>
                </a:lnTo>
                <a:lnTo>
                  <a:pt x="4405227" y="5187156"/>
                </a:lnTo>
                <a:lnTo>
                  <a:pt x="4160606" y="5060156"/>
                </a:lnTo>
                <a:close/>
              </a:path>
              <a:path w="13852525" h="11308715">
                <a:moveTo>
                  <a:pt x="12906926" y="3688556"/>
                </a:moveTo>
                <a:lnTo>
                  <a:pt x="12296149" y="4056856"/>
                </a:lnTo>
                <a:lnTo>
                  <a:pt x="12157399" y="5479256"/>
                </a:lnTo>
                <a:lnTo>
                  <a:pt x="12768176" y="5098256"/>
                </a:lnTo>
                <a:lnTo>
                  <a:pt x="12906926" y="3688556"/>
                </a:lnTo>
                <a:close/>
              </a:path>
              <a:path w="13852525" h="11308715">
                <a:moveTo>
                  <a:pt x="6925066" y="4971256"/>
                </a:moveTo>
                <a:lnTo>
                  <a:pt x="7017210" y="5314156"/>
                </a:lnTo>
                <a:lnTo>
                  <a:pt x="7013912" y="5301456"/>
                </a:lnTo>
                <a:lnTo>
                  <a:pt x="10824828" y="5301456"/>
                </a:lnTo>
                <a:lnTo>
                  <a:pt x="10823717" y="5250656"/>
                </a:lnTo>
                <a:lnTo>
                  <a:pt x="10448079" y="5250656"/>
                </a:lnTo>
                <a:lnTo>
                  <a:pt x="10425930" y="5174456"/>
                </a:lnTo>
                <a:lnTo>
                  <a:pt x="7634846" y="5174456"/>
                </a:lnTo>
                <a:lnTo>
                  <a:pt x="6925066" y="4971256"/>
                </a:lnTo>
                <a:close/>
              </a:path>
              <a:path w="13852525" h="11308715">
                <a:moveTo>
                  <a:pt x="11205803" y="4082256"/>
                </a:moveTo>
                <a:lnTo>
                  <a:pt x="10455922" y="4082256"/>
                </a:lnTo>
                <a:lnTo>
                  <a:pt x="10682669" y="5098256"/>
                </a:lnTo>
                <a:lnTo>
                  <a:pt x="10448079" y="5250656"/>
                </a:lnTo>
                <a:lnTo>
                  <a:pt x="10823717" y="5250656"/>
                </a:lnTo>
                <a:lnTo>
                  <a:pt x="10822885" y="5212556"/>
                </a:lnTo>
                <a:lnTo>
                  <a:pt x="11137440" y="4882356"/>
                </a:lnTo>
                <a:lnTo>
                  <a:pt x="11840169" y="4882356"/>
                </a:lnTo>
                <a:lnTo>
                  <a:pt x="11848798" y="4679156"/>
                </a:lnTo>
                <a:lnTo>
                  <a:pt x="11327529" y="4679156"/>
                </a:lnTo>
                <a:lnTo>
                  <a:pt x="11335665" y="4666456"/>
                </a:lnTo>
                <a:lnTo>
                  <a:pt x="11205803" y="4082256"/>
                </a:lnTo>
                <a:close/>
              </a:path>
              <a:path w="13852525" h="11308715">
                <a:moveTo>
                  <a:pt x="3575367" y="4729956"/>
                </a:moveTo>
                <a:lnTo>
                  <a:pt x="2545503" y="5085556"/>
                </a:lnTo>
                <a:lnTo>
                  <a:pt x="2721508" y="5174456"/>
                </a:lnTo>
                <a:lnTo>
                  <a:pt x="3751372" y="4818856"/>
                </a:lnTo>
                <a:lnTo>
                  <a:pt x="3575367" y="4729956"/>
                </a:lnTo>
                <a:close/>
              </a:path>
              <a:path w="13852525" h="11308715">
                <a:moveTo>
                  <a:pt x="7635599" y="4831556"/>
                </a:moveTo>
                <a:lnTo>
                  <a:pt x="7636510" y="5174456"/>
                </a:lnTo>
                <a:lnTo>
                  <a:pt x="10425930" y="5174456"/>
                </a:lnTo>
                <a:lnTo>
                  <a:pt x="10381632" y="5022056"/>
                </a:lnTo>
                <a:lnTo>
                  <a:pt x="7958396" y="5022056"/>
                </a:lnTo>
                <a:lnTo>
                  <a:pt x="7635599" y="4831556"/>
                </a:lnTo>
                <a:close/>
              </a:path>
              <a:path w="13852525" h="11308715">
                <a:moveTo>
                  <a:pt x="5880899" y="4704556"/>
                </a:moveTo>
                <a:lnTo>
                  <a:pt x="6089699" y="5047456"/>
                </a:lnTo>
                <a:lnTo>
                  <a:pt x="6911307" y="5098256"/>
                </a:lnTo>
                <a:lnTo>
                  <a:pt x="6702487" y="4742656"/>
                </a:lnTo>
                <a:lnTo>
                  <a:pt x="5880899" y="4704556"/>
                </a:lnTo>
                <a:close/>
              </a:path>
              <a:path w="13852525" h="11308715">
                <a:moveTo>
                  <a:pt x="5506209" y="4679156"/>
                </a:moveTo>
                <a:lnTo>
                  <a:pt x="4598540" y="4818856"/>
                </a:lnTo>
                <a:lnTo>
                  <a:pt x="4847496" y="5060156"/>
                </a:lnTo>
                <a:lnTo>
                  <a:pt x="5755175" y="4920456"/>
                </a:lnTo>
                <a:lnTo>
                  <a:pt x="5506209" y="4679156"/>
                </a:lnTo>
                <a:close/>
              </a:path>
              <a:path w="13852525" h="11308715">
                <a:moveTo>
                  <a:pt x="7623663" y="4145756"/>
                </a:moveTo>
                <a:lnTo>
                  <a:pt x="7625328" y="4539456"/>
                </a:lnTo>
                <a:lnTo>
                  <a:pt x="8015075" y="4806156"/>
                </a:lnTo>
                <a:lnTo>
                  <a:pt x="7958396" y="5022056"/>
                </a:lnTo>
                <a:lnTo>
                  <a:pt x="10381632" y="5022056"/>
                </a:lnTo>
                <a:lnTo>
                  <a:pt x="10267195" y="4628356"/>
                </a:lnTo>
                <a:lnTo>
                  <a:pt x="9859992" y="4628356"/>
                </a:lnTo>
                <a:lnTo>
                  <a:pt x="9760072" y="4463256"/>
                </a:lnTo>
                <a:lnTo>
                  <a:pt x="8084937" y="4463256"/>
                </a:lnTo>
                <a:lnTo>
                  <a:pt x="7623663" y="4145756"/>
                </a:lnTo>
                <a:close/>
              </a:path>
              <a:path w="13852525" h="11308715">
                <a:moveTo>
                  <a:pt x="6733763" y="4310856"/>
                </a:moveTo>
                <a:lnTo>
                  <a:pt x="6839582" y="4691856"/>
                </a:lnTo>
                <a:lnTo>
                  <a:pt x="7590302" y="4945856"/>
                </a:lnTo>
                <a:lnTo>
                  <a:pt x="7484484" y="4564856"/>
                </a:lnTo>
                <a:lnTo>
                  <a:pt x="6733763" y="4310856"/>
                </a:lnTo>
                <a:close/>
              </a:path>
              <a:path w="13852525" h="11308715">
                <a:moveTo>
                  <a:pt x="13851902" y="3078956"/>
                </a:moveTo>
                <a:lnTo>
                  <a:pt x="13451318" y="3332956"/>
                </a:lnTo>
                <a:lnTo>
                  <a:pt x="13229900" y="4844256"/>
                </a:lnTo>
                <a:lnTo>
                  <a:pt x="13729634" y="4526756"/>
                </a:lnTo>
                <a:lnTo>
                  <a:pt x="13851902" y="3688556"/>
                </a:lnTo>
                <a:lnTo>
                  <a:pt x="13851902" y="3078956"/>
                </a:lnTo>
                <a:close/>
              </a:path>
              <a:path w="13852525" h="11308715">
                <a:moveTo>
                  <a:pt x="2990128" y="4387056"/>
                </a:moveTo>
                <a:lnTo>
                  <a:pt x="1882560" y="4742656"/>
                </a:lnTo>
                <a:lnTo>
                  <a:pt x="1989928" y="4793456"/>
                </a:lnTo>
                <a:lnTo>
                  <a:pt x="3097518" y="4437856"/>
                </a:lnTo>
                <a:lnTo>
                  <a:pt x="2990128" y="4387056"/>
                </a:lnTo>
                <a:close/>
              </a:path>
              <a:path w="13852525" h="11308715">
                <a:moveTo>
                  <a:pt x="11862822" y="4348956"/>
                </a:moveTo>
                <a:lnTo>
                  <a:pt x="11327529" y="4679156"/>
                </a:lnTo>
                <a:lnTo>
                  <a:pt x="11848798" y="4679156"/>
                </a:lnTo>
                <a:lnTo>
                  <a:pt x="11862822" y="4348956"/>
                </a:lnTo>
                <a:close/>
              </a:path>
              <a:path w="13852525" h="11308715">
                <a:moveTo>
                  <a:pt x="10419085" y="3472656"/>
                </a:moveTo>
                <a:lnTo>
                  <a:pt x="9559876" y="3472656"/>
                </a:lnTo>
                <a:lnTo>
                  <a:pt x="10057473" y="4412456"/>
                </a:lnTo>
                <a:lnTo>
                  <a:pt x="9859992" y="4628356"/>
                </a:lnTo>
                <a:lnTo>
                  <a:pt x="10267195" y="4628356"/>
                </a:lnTo>
                <a:lnTo>
                  <a:pt x="10226589" y="4488656"/>
                </a:lnTo>
                <a:lnTo>
                  <a:pt x="10455922" y="4082256"/>
                </a:lnTo>
                <a:lnTo>
                  <a:pt x="11205803" y="4082256"/>
                </a:lnTo>
                <a:lnTo>
                  <a:pt x="11149342" y="3828256"/>
                </a:lnTo>
                <a:lnTo>
                  <a:pt x="10594494" y="3828256"/>
                </a:lnTo>
                <a:lnTo>
                  <a:pt x="10600441" y="3815556"/>
                </a:lnTo>
                <a:lnTo>
                  <a:pt x="10419085" y="3472656"/>
                </a:lnTo>
                <a:close/>
              </a:path>
              <a:path w="13852525" h="11308715">
                <a:moveTo>
                  <a:pt x="5046076" y="4209256"/>
                </a:moveTo>
                <a:lnTo>
                  <a:pt x="4069174" y="4323556"/>
                </a:lnTo>
                <a:lnTo>
                  <a:pt x="4263849" y="4501356"/>
                </a:lnTo>
                <a:lnTo>
                  <a:pt x="5240793" y="4399756"/>
                </a:lnTo>
                <a:lnTo>
                  <a:pt x="5046076" y="4209256"/>
                </a:lnTo>
                <a:close/>
              </a:path>
              <a:path w="13852525" h="11308715">
                <a:moveTo>
                  <a:pt x="5512868" y="4094956"/>
                </a:moveTo>
                <a:lnTo>
                  <a:pt x="5684591" y="4387056"/>
                </a:lnTo>
                <a:lnTo>
                  <a:pt x="6562805" y="4475956"/>
                </a:lnTo>
                <a:lnTo>
                  <a:pt x="6391082" y="4196556"/>
                </a:lnTo>
                <a:lnTo>
                  <a:pt x="5512868" y="4094956"/>
                </a:lnTo>
                <a:close/>
              </a:path>
              <a:path w="13852525" h="11308715">
                <a:moveTo>
                  <a:pt x="7611736" y="3472656"/>
                </a:moveTo>
                <a:lnTo>
                  <a:pt x="7613820" y="3790156"/>
                </a:lnTo>
                <a:lnTo>
                  <a:pt x="8154243" y="4209256"/>
                </a:lnTo>
                <a:lnTo>
                  <a:pt x="8084937" y="4463256"/>
                </a:lnTo>
                <a:lnTo>
                  <a:pt x="9760072" y="4463256"/>
                </a:lnTo>
                <a:lnTo>
                  <a:pt x="9583289" y="4171156"/>
                </a:lnTo>
                <a:lnTo>
                  <a:pt x="9105377" y="4171156"/>
                </a:lnTo>
                <a:lnTo>
                  <a:pt x="8844315" y="3929856"/>
                </a:lnTo>
                <a:lnTo>
                  <a:pt x="8225341" y="3929856"/>
                </a:lnTo>
                <a:lnTo>
                  <a:pt x="7611736" y="3472656"/>
                </a:lnTo>
                <a:close/>
              </a:path>
              <a:path w="13852525" h="11308715">
                <a:moveTo>
                  <a:pt x="2404879" y="4056856"/>
                </a:moveTo>
                <a:lnTo>
                  <a:pt x="1219606" y="4387056"/>
                </a:lnTo>
                <a:lnTo>
                  <a:pt x="1258380" y="4412456"/>
                </a:lnTo>
                <a:lnTo>
                  <a:pt x="2443632" y="4069556"/>
                </a:lnTo>
                <a:lnTo>
                  <a:pt x="2404879" y="4056856"/>
                </a:lnTo>
                <a:close/>
              </a:path>
              <a:path w="13852525" h="11308715">
                <a:moveTo>
                  <a:pt x="11917783" y="2418556"/>
                </a:moveTo>
                <a:lnTo>
                  <a:pt x="11404218" y="2964656"/>
                </a:lnTo>
                <a:lnTo>
                  <a:pt x="11638347" y="4387056"/>
                </a:lnTo>
                <a:lnTo>
                  <a:pt x="12151912" y="3853656"/>
                </a:lnTo>
                <a:lnTo>
                  <a:pt x="11917783" y="2418556"/>
                </a:lnTo>
                <a:close/>
              </a:path>
              <a:path w="13852525" h="11308715">
                <a:moveTo>
                  <a:pt x="6542429" y="3637756"/>
                </a:moveTo>
                <a:lnTo>
                  <a:pt x="6629840" y="3955256"/>
                </a:lnTo>
                <a:lnTo>
                  <a:pt x="7421512" y="4272756"/>
                </a:lnTo>
                <a:lnTo>
                  <a:pt x="7334111" y="3955256"/>
                </a:lnTo>
                <a:lnTo>
                  <a:pt x="6542429" y="3637756"/>
                </a:lnTo>
                <a:close/>
              </a:path>
              <a:path w="13852525" h="11308715">
                <a:moveTo>
                  <a:pt x="8675913" y="2151856"/>
                </a:moveTo>
                <a:lnTo>
                  <a:pt x="8439135" y="3053556"/>
                </a:lnTo>
                <a:lnTo>
                  <a:pt x="9249467" y="3917156"/>
                </a:lnTo>
                <a:lnTo>
                  <a:pt x="9105377" y="4171156"/>
                </a:lnTo>
                <a:lnTo>
                  <a:pt x="9583289" y="4171156"/>
                </a:lnTo>
                <a:lnTo>
                  <a:pt x="9437251" y="3929856"/>
                </a:lnTo>
                <a:lnTo>
                  <a:pt x="9559876" y="3472656"/>
                </a:lnTo>
                <a:lnTo>
                  <a:pt x="10419085" y="3472656"/>
                </a:lnTo>
                <a:lnTo>
                  <a:pt x="10271313" y="3193256"/>
                </a:lnTo>
                <a:lnTo>
                  <a:pt x="9633989" y="3193256"/>
                </a:lnTo>
                <a:lnTo>
                  <a:pt x="9637151" y="3180556"/>
                </a:lnTo>
                <a:lnTo>
                  <a:pt x="8675913" y="2151856"/>
                </a:lnTo>
                <a:close/>
              </a:path>
              <a:path w="13852525" h="11308715">
                <a:moveTo>
                  <a:pt x="4585933" y="3739356"/>
                </a:moveTo>
                <a:lnTo>
                  <a:pt x="3539797" y="3828256"/>
                </a:lnTo>
                <a:lnTo>
                  <a:pt x="3680254" y="3955256"/>
                </a:lnTo>
                <a:lnTo>
                  <a:pt x="4726390" y="3879056"/>
                </a:lnTo>
                <a:lnTo>
                  <a:pt x="4585933" y="3739356"/>
                </a:lnTo>
                <a:close/>
              </a:path>
              <a:path w="13852525" h="11308715">
                <a:moveTo>
                  <a:pt x="8349672" y="3472656"/>
                </a:moveTo>
                <a:lnTo>
                  <a:pt x="8225341" y="3929856"/>
                </a:lnTo>
                <a:lnTo>
                  <a:pt x="8844315" y="3929856"/>
                </a:lnTo>
                <a:lnTo>
                  <a:pt x="8349672" y="3472656"/>
                </a:lnTo>
                <a:close/>
              </a:path>
              <a:path w="13852525" h="11308715">
                <a:moveTo>
                  <a:pt x="5144827" y="3485356"/>
                </a:moveTo>
                <a:lnTo>
                  <a:pt x="5279462" y="3713956"/>
                </a:lnTo>
                <a:lnTo>
                  <a:pt x="6214302" y="3853656"/>
                </a:lnTo>
                <a:lnTo>
                  <a:pt x="6079668" y="3637756"/>
                </a:lnTo>
                <a:lnTo>
                  <a:pt x="5144827" y="3485356"/>
                </a:lnTo>
                <a:close/>
              </a:path>
              <a:path w="13852525" h="11308715">
                <a:moveTo>
                  <a:pt x="11044888" y="3358356"/>
                </a:moveTo>
                <a:lnTo>
                  <a:pt x="10594494" y="3828256"/>
                </a:lnTo>
                <a:lnTo>
                  <a:pt x="11149342" y="3828256"/>
                </a:lnTo>
                <a:lnTo>
                  <a:pt x="11044888" y="3358356"/>
                </a:lnTo>
                <a:close/>
              </a:path>
              <a:path w="13852525" h="11308715">
                <a:moveTo>
                  <a:pt x="7599810" y="2786856"/>
                </a:moveTo>
                <a:lnTo>
                  <a:pt x="7602313" y="3040856"/>
                </a:lnTo>
                <a:lnTo>
                  <a:pt x="8282857" y="3612356"/>
                </a:lnTo>
                <a:lnTo>
                  <a:pt x="8280355" y="3358356"/>
                </a:lnTo>
                <a:lnTo>
                  <a:pt x="7599810" y="2786856"/>
                </a:lnTo>
                <a:close/>
              </a:path>
              <a:path w="13852525" h="11308715">
                <a:moveTo>
                  <a:pt x="6351115" y="2977356"/>
                </a:moveTo>
                <a:lnTo>
                  <a:pt x="6420118" y="3218656"/>
                </a:lnTo>
                <a:lnTo>
                  <a:pt x="7252732" y="3599656"/>
                </a:lnTo>
                <a:lnTo>
                  <a:pt x="7183739" y="3345656"/>
                </a:lnTo>
                <a:lnTo>
                  <a:pt x="6351115" y="2977356"/>
                </a:lnTo>
                <a:close/>
              </a:path>
              <a:path w="13852525" h="11308715">
                <a:moveTo>
                  <a:pt x="12790678" y="1491456"/>
                </a:moveTo>
                <a:lnTo>
                  <a:pt x="12370890" y="1923256"/>
                </a:lnTo>
                <a:lnTo>
                  <a:pt x="12548382" y="3472656"/>
                </a:lnTo>
                <a:lnTo>
                  <a:pt x="12968181" y="3040856"/>
                </a:lnTo>
                <a:lnTo>
                  <a:pt x="12790678" y="1491456"/>
                </a:lnTo>
                <a:close/>
              </a:path>
              <a:path w="13852525" h="11308715">
                <a:moveTo>
                  <a:pt x="10591646" y="1453356"/>
                </a:moveTo>
                <a:lnTo>
                  <a:pt x="10217657" y="2113756"/>
                </a:lnTo>
                <a:lnTo>
                  <a:pt x="10830727" y="3459956"/>
                </a:lnTo>
                <a:lnTo>
                  <a:pt x="11204716" y="2799556"/>
                </a:lnTo>
                <a:lnTo>
                  <a:pt x="10591646" y="1453356"/>
                </a:lnTo>
                <a:close/>
              </a:path>
              <a:path w="13852525" h="11308715">
                <a:moveTo>
                  <a:pt x="4125801" y="3282156"/>
                </a:moveTo>
                <a:lnTo>
                  <a:pt x="3010421" y="3332956"/>
                </a:lnTo>
                <a:lnTo>
                  <a:pt x="3096628" y="3409156"/>
                </a:lnTo>
                <a:lnTo>
                  <a:pt x="4212018" y="3358356"/>
                </a:lnTo>
                <a:lnTo>
                  <a:pt x="4125801" y="3282156"/>
                </a:lnTo>
                <a:close/>
              </a:path>
              <a:path w="13852525" h="11308715">
                <a:moveTo>
                  <a:pt x="4776796" y="2888456"/>
                </a:moveTo>
                <a:lnTo>
                  <a:pt x="4874343" y="3040856"/>
                </a:lnTo>
                <a:lnTo>
                  <a:pt x="5865810" y="3231356"/>
                </a:lnTo>
                <a:lnTo>
                  <a:pt x="5768264" y="3078956"/>
                </a:lnTo>
                <a:lnTo>
                  <a:pt x="4776796" y="2888456"/>
                </a:lnTo>
                <a:close/>
              </a:path>
              <a:path w="13852525" h="11308715">
                <a:moveTo>
                  <a:pt x="9962335" y="2609056"/>
                </a:moveTo>
                <a:lnTo>
                  <a:pt x="9633989" y="3193256"/>
                </a:lnTo>
                <a:lnTo>
                  <a:pt x="10271313" y="3193256"/>
                </a:lnTo>
                <a:lnTo>
                  <a:pt x="9962335" y="2609056"/>
                </a:lnTo>
                <a:close/>
              </a:path>
              <a:path w="13852525" h="11308715">
                <a:moveTo>
                  <a:pt x="7587884" y="2113756"/>
                </a:moveTo>
                <a:lnTo>
                  <a:pt x="7590805" y="2291556"/>
                </a:lnTo>
                <a:lnTo>
                  <a:pt x="8294784" y="2926556"/>
                </a:lnTo>
                <a:lnTo>
                  <a:pt x="8291862" y="2736056"/>
                </a:lnTo>
                <a:lnTo>
                  <a:pt x="7587884" y="2113756"/>
                </a:lnTo>
                <a:close/>
              </a:path>
              <a:path w="13852525" h="11308715">
                <a:moveTo>
                  <a:pt x="6159801" y="2304256"/>
                </a:moveTo>
                <a:lnTo>
                  <a:pt x="6210376" y="2482056"/>
                </a:lnTo>
                <a:lnTo>
                  <a:pt x="7083951" y="2913856"/>
                </a:lnTo>
                <a:lnTo>
                  <a:pt x="7033366" y="2736056"/>
                </a:lnTo>
                <a:lnTo>
                  <a:pt x="6159801" y="2304256"/>
                </a:lnTo>
                <a:close/>
              </a:path>
              <a:path w="13852525" h="11308715">
                <a:moveTo>
                  <a:pt x="3665658" y="2812256"/>
                </a:moveTo>
                <a:lnTo>
                  <a:pt x="2481055" y="2837656"/>
                </a:lnTo>
                <a:lnTo>
                  <a:pt x="2512981" y="2863056"/>
                </a:lnTo>
                <a:lnTo>
                  <a:pt x="3697615" y="2837656"/>
                </a:lnTo>
                <a:lnTo>
                  <a:pt x="3665658" y="2812256"/>
                </a:lnTo>
                <a:close/>
              </a:path>
              <a:path w="13852525" h="11308715">
                <a:moveTo>
                  <a:pt x="9002134" y="843756"/>
                </a:moveTo>
                <a:lnTo>
                  <a:pt x="8802779" y="1605756"/>
                </a:lnTo>
                <a:lnTo>
                  <a:pt x="9774309" y="2761456"/>
                </a:lnTo>
                <a:lnTo>
                  <a:pt x="9973675" y="2012156"/>
                </a:lnTo>
                <a:lnTo>
                  <a:pt x="9002134" y="843756"/>
                </a:lnTo>
                <a:close/>
              </a:path>
              <a:path w="13852525" h="11308715">
                <a:moveTo>
                  <a:pt x="4408755" y="2278856"/>
                </a:moveTo>
                <a:lnTo>
                  <a:pt x="4469235" y="2380456"/>
                </a:lnTo>
                <a:lnTo>
                  <a:pt x="5517318" y="2609056"/>
                </a:lnTo>
                <a:lnTo>
                  <a:pt x="5456849" y="2520156"/>
                </a:lnTo>
                <a:lnTo>
                  <a:pt x="4408755" y="2278856"/>
                </a:lnTo>
                <a:close/>
              </a:path>
              <a:path w="13852525" h="11308715">
                <a:moveTo>
                  <a:pt x="11220946" y="284956"/>
                </a:moveTo>
                <a:lnTo>
                  <a:pt x="10915740" y="843756"/>
                </a:lnTo>
                <a:lnTo>
                  <a:pt x="11503785" y="2316956"/>
                </a:lnTo>
                <a:lnTo>
                  <a:pt x="11808991" y="1770856"/>
                </a:lnTo>
                <a:lnTo>
                  <a:pt x="11220946" y="284956"/>
                </a:lnTo>
                <a:close/>
              </a:path>
              <a:path w="13852525" h="11308715">
                <a:moveTo>
                  <a:pt x="5968477" y="1643856"/>
                </a:moveTo>
                <a:lnTo>
                  <a:pt x="6000644" y="1745456"/>
                </a:lnTo>
                <a:lnTo>
                  <a:pt x="6915171" y="2240756"/>
                </a:lnTo>
                <a:lnTo>
                  <a:pt x="6883015" y="2126456"/>
                </a:lnTo>
                <a:lnTo>
                  <a:pt x="5968477" y="1643856"/>
                </a:lnTo>
                <a:close/>
              </a:path>
              <a:path w="13852525" h="11308715">
                <a:moveTo>
                  <a:pt x="7575968" y="1427956"/>
                </a:moveTo>
                <a:lnTo>
                  <a:pt x="7579298" y="1542256"/>
                </a:lnTo>
                <a:lnTo>
                  <a:pt x="8306699" y="2240756"/>
                </a:lnTo>
                <a:lnTo>
                  <a:pt x="8303370" y="2126456"/>
                </a:lnTo>
                <a:lnTo>
                  <a:pt x="7575968" y="1427956"/>
                </a:lnTo>
                <a:close/>
              </a:path>
              <a:path w="13852525" h="11308715">
                <a:moveTo>
                  <a:pt x="4040735" y="1669256"/>
                </a:moveTo>
                <a:lnTo>
                  <a:pt x="4064096" y="1707356"/>
                </a:lnTo>
                <a:lnTo>
                  <a:pt x="5168826" y="1986756"/>
                </a:lnTo>
                <a:lnTo>
                  <a:pt x="5145445" y="1961356"/>
                </a:lnTo>
                <a:lnTo>
                  <a:pt x="4040735" y="1669256"/>
                </a:lnTo>
                <a:close/>
              </a:path>
              <a:path w="13852525" h="11308715">
                <a:moveTo>
                  <a:pt x="5777164" y="970756"/>
                </a:moveTo>
                <a:lnTo>
                  <a:pt x="5790923" y="1008856"/>
                </a:lnTo>
                <a:lnTo>
                  <a:pt x="6746391" y="1554956"/>
                </a:lnTo>
                <a:lnTo>
                  <a:pt x="6732643" y="1529556"/>
                </a:lnTo>
                <a:lnTo>
                  <a:pt x="5777164" y="970756"/>
                </a:lnTo>
                <a:close/>
              </a:path>
              <a:path w="13852525" h="11308715">
                <a:moveTo>
                  <a:pt x="7564041" y="754856"/>
                </a:moveTo>
                <a:lnTo>
                  <a:pt x="7567790" y="792956"/>
                </a:lnTo>
                <a:lnTo>
                  <a:pt x="8318636" y="1554956"/>
                </a:lnTo>
                <a:lnTo>
                  <a:pt x="8314888" y="1516856"/>
                </a:lnTo>
                <a:lnTo>
                  <a:pt x="7564041" y="754856"/>
                </a:lnTo>
                <a:close/>
              </a:path>
              <a:path w="13852525" h="11308715">
                <a:moveTo>
                  <a:pt x="9684684" y="5556"/>
                </a:moveTo>
                <a:lnTo>
                  <a:pt x="9205378" y="5556"/>
                </a:lnTo>
                <a:lnTo>
                  <a:pt x="9166401" y="157956"/>
                </a:lnTo>
                <a:lnTo>
                  <a:pt x="10148214" y="1453356"/>
                </a:lnTo>
                <a:lnTo>
                  <a:pt x="10310167" y="831056"/>
                </a:lnTo>
                <a:lnTo>
                  <a:pt x="9684684" y="5556"/>
                </a:lnTo>
                <a:close/>
              </a:path>
              <a:path w="13852525" h="11308715">
                <a:moveTo>
                  <a:pt x="12155392" y="5556"/>
                </a:moveTo>
                <a:lnTo>
                  <a:pt x="11769899" y="5556"/>
                </a:lnTo>
                <a:lnTo>
                  <a:pt x="12176843" y="1173956"/>
                </a:lnTo>
                <a:lnTo>
                  <a:pt x="12413266" y="742156"/>
                </a:lnTo>
                <a:lnTo>
                  <a:pt x="12155392" y="5556"/>
                </a:lnTo>
                <a:close/>
              </a:path>
              <a:path w="13852525" h="11308715">
                <a:moveTo>
                  <a:pt x="10558529" y="5556"/>
                </a:moveTo>
                <a:lnTo>
                  <a:pt x="10424416" y="5556"/>
                </a:lnTo>
                <a:lnTo>
                  <a:pt x="10522108" y="145256"/>
                </a:lnTo>
                <a:lnTo>
                  <a:pt x="10558529" y="5556"/>
                </a:lnTo>
                <a:close/>
              </a:path>
            </a:pathLst>
          </a:custGeom>
          <a:solidFill>
            <a:srgbClr val="1A0F5C">
              <a:alpha val="5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FDD0999-C447-FB95-885F-11AEB8E057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908" y="1714110"/>
            <a:ext cx="1840546" cy="610478"/>
          </a:xfrm>
          <a:prstGeom prst="rect">
            <a:avLst/>
          </a:prstGeom>
        </p:spPr>
      </p:pic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8BE236B8-969D-5871-C200-1718BE793B9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411629" y="5850238"/>
            <a:ext cx="2396464" cy="63286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17BBF3F-05AA-FF8D-1C04-4446E47B1814}"/>
              </a:ext>
            </a:extLst>
          </p:cNvPr>
          <p:cNvSpPr txBox="1"/>
          <p:nvPr userDrawn="1"/>
        </p:nvSpPr>
        <p:spPr>
          <a:xfrm>
            <a:off x="383907" y="6267664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mangroup.com</a:t>
            </a:r>
            <a:endParaRPr lang="en-GB" sz="800" spc="55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AC21ABF9-DF93-4D97-AA87-3AB7C8C276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3908" y="4082988"/>
            <a:ext cx="3519877" cy="3385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98A817CD-D020-4F99-9B29-49FAEAE4F4D2}" type="datetime3">
              <a:rPr lang="en-US" smtClean="0"/>
              <a:t>23 September 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789480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split -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B897E263-ECEB-EE83-7268-E374F16AA264}"/>
              </a:ext>
            </a:extLst>
          </p:cNvPr>
          <p:cNvGrpSpPr/>
          <p:nvPr userDrawn="1"/>
        </p:nvGrpSpPr>
        <p:grpSpPr>
          <a:xfrm>
            <a:off x="381000" y="1872371"/>
            <a:ext cx="11430000" cy="3468510"/>
            <a:chOff x="383568" y="1872371"/>
            <a:chExt cx="11461750" cy="3468510"/>
          </a:xfrm>
        </p:grpSpPr>
        <p:grpSp>
          <p:nvGrpSpPr>
            <p:cNvPr id="21" name="object 4">
              <a:extLst>
                <a:ext uri="{FF2B5EF4-FFF2-40B4-BE49-F238E27FC236}">
                  <a16:creationId xmlns:a16="http://schemas.microsoft.com/office/drawing/2014/main" id="{F7A370E8-9642-AF54-D44B-CDEDF2FD7EED}"/>
                </a:ext>
              </a:extLst>
            </p:cNvPr>
            <p:cNvGrpSpPr/>
            <p:nvPr/>
          </p:nvGrpSpPr>
          <p:grpSpPr>
            <a:xfrm>
              <a:off x="383568" y="3351205"/>
              <a:ext cx="2954072" cy="1989161"/>
              <a:chOff x="1585475" y="5701396"/>
              <a:chExt cx="4362450" cy="2937510"/>
            </a:xfrm>
          </p:grpSpPr>
          <p:sp>
            <p:nvSpPr>
              <p:cNvPr id="58" name="object 5">
                <a:extLst>
                  <a:ext uri="{FF2B5EF4-FFF2-40B4-BE49-F238E27FC236}">
                    <a16:creationId xmlns:a16="http://schemas.microsoft.com/office/drawing/2014/main" id="{1BF65D0E-0627-F234-B1E9-DAF71F8731CB}"/>
                  </a:ext>
                </a:extLst>
              </p:cNvPr>
              <p:cNvSpPr/>
              <p:nvPr/>
            </p:nvSpPr>
            <p:spPr>
              <a:xfrm>
                <a:off x="1627358" y="5805739"/>
                <a:ext cx="0" cy="2467610"/>
              </a:xfrm>
              <a:custGeom>
                <a:avLst/>
                <a:gdLst/>
                <a:ahLst/>
                <a:cxnLst/>
                <a:rect l="l" t="t" r="r" b="b"/>
                <a:pathLst>
                  <a:path h="2467609">
                    <a:moveTo>
                      <a:pt x="0" y="0"/>
                    </a:moveTo>
                    <a:lnTo>
                      <a:pt x="0" y="2467139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59" name="object 6">
                <a:extLst>
                  <a:ext uri="{FF2B5EF4-FFF2-40B4-BE49-F238E27FC236}">
                    <a16:creationId xmlns:a16="http://schemas.microsoft.com/office/drawing/2014/main" id="{DC32E038-6AD5-5D99-0B7E-155514E82E9D}"/>
                  </a:ext>
                </a:extLst>
              </p:cNvPr>
              <p:cNvSpPr/>
              <p:nvPr/>
            </p:nvSpPr>
            <p:spPr>
              <a:xfrm>
                <a:off x="1633340" y="8365459"/>
                <a:ext cx="277495" cy="252095"/>
              </a:xfrm>
              <a:custGeom>
                <a:avLst/>
                <a:gdLst/>
                <a:ahLst/>
                <a:cxnLst/>
                <a:rect l="l" t="t" r="r" b="b"/>
                <a:pathLst>
                  <a:path w="277494" h="252095">
                    <a:moveTo>
                      <a:pt x="0" y="0"/>
                    </a:moveTo>
                    <a:lnTo>
                      <a:pt x="13866" y="48836"/>
                    </a:lnTo>
                    <a:lnTo>
                      <a:pt x="35063" y="94111"/>
                    </a:lnTo>
                    <a:lnTo>
                      <a:pt x="62897" y="135126"/>
                    </a:lnTo>
                    <a:lnTo>
                      <a:pt x="96675" y="171188"/>
                    </a:lnTo>
                    <a:lnTo>
                      <a:pt x="135701" y="201599"/>
                    </a:lnTo>
                    <a:lnTo>
                      <a:pt x="179281" y="225664"/>
                    </a:lnTo>
                    <a:lnTo>
                      <a:pt x="226723" y="242687"/>
                    </a:lnTo>
                    <a:lnTo>
                      <a:pt x="277331" y="251971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0" name="object 7">
                <a:extLst>
                  <a:ext uri="{FF2B5EF4-FFF2-40B4-BE49-F238E27FC236}">
                    <a16:creationId xmlns:a16="http://schemas.microsoft.com/office/drawing/2014/main" id="{6559E618-A26D-63F7-F1CA-FCA4249795C8}"/>
                  </a:ext>
                </a:extLst>
              </p:cNvPr>
              <p:cNvSpPr/>
              <p:nvPr/>
            </p:nvSpPr>
            <p:spPr>
              <a:xfrm>
                <a:off x="1616887" y="8293642"/>
                <a:ext cx="20955" cy="20955"/>
              </a:xfrm>
              <a:custGeom>
                <a:avLst/>
                <a:gdLst/>
                <a:ahLst/>
                <a:cxnLst/>
                <a:rect l="l" t="t" r="r" b="b"/>
                <a:pathLst>
                  <a:path w="20955" h="20954">
                    <a:moveTo>
                      <a:pt x="0" y="10470"/>
                    </a:moveTo>
                    <a:lnTo>
                      <a:pt x="3066" y="3066"/>
                    </a:lnTo>
                    <a:lnTo>
                      <a:pt x="10470" y="0"/>
                    </a:lnTo>
                    <a:lnTo>
                      <a:pt x="17874" y="3066"/>
                    </a:lnTo>
                    <a:lnTo>
                      <a:pt x="20941" y="10470"/>
                    </a:lnTo>
                    <a:lnTo>
                      <a:pt x="17874" y="17874"/>
                    </a:lnTo>
                    <a:lnTo>
                      <a:pt x="10470" y="20941"/>
                    </a:lnTo>
                    <a:lnTo>
                      <a:pt x="3066" y="17874"/>
                    </a:lnTo>
                    <a:lnTo>
                      <a:pt x="0" y="10470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1" name="object 8">
                <a:extLst>
                  <a:ext uri="{FF2B5EF4-FFF2-40B4-BE49-F238E27FC236}">
                    <a16:creationId xmlns:a16="http://schemas.microsoft.com/office/drawing/2014/main" id="{75AD6B4D-56CD-CBD5-1D27-42052B48904C}"/>
                  </a:ext>
                </a:extLst>
              </p:cNvPr>
              <p:cNvSpPr/>
              <p:nvPr/>
            </p:nvSpPr>
            <p:spPr>
              <a:xfrm>
                <a:off x="2003881" y="8619154"/>
                <a:ext cx="3588385" cy="8890"/>
              </a:xfrm>
              <a:custGeom>
                <a:avLst/>
                <a:gdLst/>
                <a:ahLst/>
                <a:cxnLst/>
                <a:rect l="l" t="t" r="r" b="b"/>
                <a:pathLst>
                  <a:path w="3588385" h="8890">
                    <a:moveTo>
                      <a:pt x="0" y="0"/>
                    </a:moveTo>
                    <a:lnTo>
                      <a:pt x="3587786" y="8711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2" name="object 9">
                <a:extLst>
                  <a:ext uri="{FF2B5EF4-FFF2-40B4-BE49-F238E27FC236}">
                    <a16:creationId xmlns:a16="http://schemas.microsoft.com/office/drawing/2014/main" id="{1B562921-8B76-0027-F506-8F88B6F6D1A6}"/>
                  </a:ext>
                </a:extLst>
              </p:cNvPr>
              <p:cNvSpPr/>
              <p:nvPr/>
            </p:nvSpPr>
            <p:spPr>
              <a:xfrm>
                <a:off x="1931014" y="8608533"/>
                <a:ext cx="20955" cy="20955"/>
              </a:xfrm>
              <a:custGeom>
                <a:avLst/>
                <a:gdLst/>
                <a:ahLst/>
                <a:cxnLst/>
                <a:rect l="l" t="t" r="r" b="b"/>
                <a:pathLst>
                  <a:path w="20955" h="20954">
                    <a:moveTo>
                      <a:pt x="0" y="10470"/>
                    </a:moveTo>
                    <a:lnTo>
                      <a:pt x="3066" y="3066"/>
                    </a:lnTo>
                    <a:lnTo>
                      <a:pt x="10470" y="0"/>
                    </a:lnTo>
                    <a:lnTo>
                      <a:pt x="17874" y="3066"/>
                    </a:lnTo>
                    <a:lnTo>
                      <a:pt x="20941" y="10470"/>
                    </a:lnTo>
                    <a:lnTo>
                      <a:pt x="17874" y="17874"/>
                    </a:lnTo>
                    <a:lnTo>
                      <a:pt x="10470" y="20941"/>
                    </a:lnTo>
                    <a:lnTo>
                      <a:pt x="3066" y="17874"/>
                    </a:lnTo>
                    <a:lnTo>
                      <a:pt x="0" y="10470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3" name="object 10">
                <a:extLst>
                  <a:ext uri="{FF2B5EF4-FFF2-40B4-BE49-F238E27FC236}">
                    <a16:creationId xmlns:a16="http://schemas.microsoft.com/office/drawing/2014/main" id="{D7C8A975-CA69-0CBC-BA39-90E954E29B65}"/>
                  </a:ext>
                </a:extLst>
              </p:cNvPr>
              <p:cNvSpPr/>
              <p:nvPr/>
            </p:nvSpPr>
            <p:spPr>
              <a:xfrm>
                <a:off x="5684136" y="8345358"/>
                <a:ext cx="251460" cy="276860"/>
              </a:xfrm>
              <a:custGeom>
                <a:avLst/>
                <a:gdLst/>
                <a:ahLst/>
                <a:cxnLst/>
                <a:rect l="l" t="t" r="r" b="b"/>
                <a:pathLst>
                  <a:path w="251460" h="276859">
                    <a:moveTo>
                      <a:pt x="0" y="276766"/>
                    </a:moveTo>
                    <a:lnTo>
                      <a:pt x="48818" y="263026"/>
                    </a:lnTo>
                    <a:lnTo>
                      <a:pt x="94055" y="241941"/>
                    </a:lnTo>
                    <a:lnTo>
                      <a:pt x="135016" y="214203"/>
                    </a:lnTo>
                    <a:lnTo>
                      <a:pt x="171006" y="180507"/>
                    </a:lnTo>
                    <a:lnTo>
                      <a:pt x="201330" y="141545"/>
                    </a:lnTo>
                    <a:lnTo>
                      <a:pt x="225295" y="98011"/>
                    </a:lnTo>
                    <a:lnTo>
                      <a:pt x="242204" y="50598"/>
                    </a:lnTo>
                    <a:lnTo>
                      <a:pt x="251364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4" name="object 11">
                <a:extLst>
                  <a:ext uri="{FF2B5EF4-FFF2-40B4-BE49-F238E27FC236}">
                    <a16:creationId xmlns:a16="http://schemas.microsoft.com/office/drawing/2014/main" id="{E35F7A5F-EF6A-E203-F651-F599DCEFFF35}"/>
                  </a:ext>
                </a:extLst>
              </p:cNvPr>
              <p:cNvSpPr/>
              <p:nvPr/>
            </p:nvSpPr>
            <p:spPr>
              <a:xfrm>
                <a:off x="1616887" y="5732811"/>
                <a:ext cx="4330700" cy="2905760"/>
              </a:xfrm>
              <a:custGeom>
                <a:avLst/>
                <a:gdLst/>
                <a:ahLst/>
                <a:cxnLst/>
                <a:rect l="l" t="t" r="r" b="b"/>
                <a:pathLst>
                  <a:path w="4330700" h="2905759">
                    <a:moveTo>
                      <a:pt x="20929" y="10477"/>
                    </a:moveTo>
                    <a:lnTo>
                      <a:pt x="17868" y="3073"/>
                    </a:lnTo>
                    <a:lnTo>
                      <a:pt x="10464" y="0"/>
                    </a:lnTo>
                    <a:lnTo>
                      <a:pt x="3060" y="3073"/>
                    </a:lnTo>
                    <a:lnTo>
                      <a:pt x="0" y="10477"/>
                    </a:lnTo>
                    <a:lnTo>
                      <a:pt x="3060" y="17881"/>
                    </a:lnTo>
                    <a:lnTo>
                      <a:pt x="10464" y="20942"/>
                    </a:lnTo>
                    <a:lnTo>
                      <a:pt x="17868" y="17881"/>
                    </a:lnTo>
                    <a:lnTo>
                      <a:pt x="20929" y="10477"/>
                    </a:lnTo>
                    <a:close/>
                  </a:path>
                  <a:path w="4330700" h="2905759">
                    <a:moveTo>
                      <a:pt x="4016451" y="2895142"/>
                    </a:moveTo>
                    <a:lnTo>
                      <a:pt x="4013377" y="2887738"/>
                    </a:lnTo>
                    <a:lnTo>
                      <a:pt x="4005973" y="2884665"/>
                    </a:lnTo>
                    <a:lnTo>
                      <a:pt x="3998569" y="2887738"/>
                    </a:lnTo>
                    <a:lnTo>
                      <a:pt x="3995509" y="2895142"/>
                    </a:lnTo>
                    <a:lnTo>
                      <a:pt x="3998569" y="2902547"/>
                    </a:lnTo>
                    <a:lnTo>
                      <a:pt x="4005973" y="2905607"/>
                    </a:lnTo>
                    <a:lnTo>
                      <a:pt x="4013377" y="2902547"/>
                    </a:lnTo>
                    <a:lnTo>
                      <a:pt x="4016451" y="2895142"/>
                    </a:lnTo>
                    <a:close/>
                  </a:path>
                  <a:path w="4330700" h="2905759">
                    <a:moveTo>
                      <a:pt x="4330573" y="2581783"/>
                    </a:moveTo>
                    <a:lnTo>
                      <a:pt x="4327512" y="2574379"/>
                    </a:lnTo>
                    <a:lnTo>
                      <a:pt x="4320108" y="2571305"/>
                    </a:lnTo>
                    <a:lnTo>
                      <a:pt x="4312704" y="2574379"/>
                    </a:lnTo>
                    <a:lnTo>
                      <a:pt x="4309630" y="2581783"/>
                    </a:lnTo>
                    <a:lnTo>
                      <a:pt x="4312704" y="2589187"/>
                    </a:lnTo>
                    <a:lnTo>
                      <a:pt x="4320108" y="2592247"/>
                    </a:lnTo>
                    <a:lnTo>
                      <a:pt x="4327512" y="2589187"/>
                    </a:lnTo>
                    <a:lnTo>
                      <a:pt x="4330573" y="2581783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5" name="object 12">
                <a:extLst>
                  <a:ext uri="{FF2B5EF4-FFF2-40B4-BE49-F238E27FC236}">
                    <a16:creationId xmlns:a16="http://schemas.microsoft.com/office/drawing/2014/main" id="{E0943846-5820-FB6C-9E9E-7981A949FD6C}"/>
                  </a:ext>
                </a:extLst>
              </p:cNvPr>
              <p:cNvSpPr/>
              <p:nvPr/>
            </p:nvSpPr>
            <p:spPr>
              <a:xfrm>
                <a:off x="1585475" y="5701396"/>
                <a:ext cx="83820" cy="83820"/>
              </a:xfrm>
              <a:custGeom>
                <a:avLst/>
                <a:gdLst/>
                <a:ahLst/>
                <a:cxnLst/>
                <a:rect l="l" t="t" r="r" b="b"/>
                <a:pathLst>
                  <a:path w="83819" h="83820">
                    <a:moveTo>
                      <a:pt x="41883" y="0"/>
                    </a:moveTo>
                    <a:lnTo>
                      <a:pt x="25581" y="3291"/>
                    </a:lnTo>
                    <a:lnTo>
                      <a:pt x="12267" y="12267"/>
                    </a:lnTo>
                    <a:lnTo>
                      <a:pt x="3291" y="25581"/>
                    </a:lnTo>
                    <a:lnTo>
                      <a:pt x="0" y="41883"/>
                    </a:lnTo>
                    <a:lnTo>
                      <a:pt x="3291" y="58185"/>
                    </a:lnTo>
                    <a:lnTo>
                      <a:pt x="12267" y="71499"/>
                    </a:lnTo>
                    <a:lnTo>
                      <a:pt x="25581" y="80475"/>
                    </a:lnTo>
                    <a:lnTo>
                      <a:pt x="41883" y="83767"/>
                    </a:lnTo>
                    <a:lnTo>
                      <a:pt x="58185" y="80475"/>
                    </a:lnTo>
                    <a:lnTo>
                      <a:pt x="71499" y="71499"/>
                    </a:lnTo>
                    <a:lnTo>
                      <a:pt x="80475" y="58185"/>
                    </a:lnTo>
                    <a:lnTo>
                      <a:pt x="83767" y="41883"/>
                    </a:lnTo>
                    <a:lnTo>
                      <a:pt x="80475" y="25581"/>
                    </a:lnTo>
                    <a:lnTo>
                      <a:pt x="71499" y="12267"/>
                    </a:lnTo>
                    <a:lnTo>
                      <a:pt x="58185" y="3291"/>
                    </a:lnTo>
                    <a:lnTo>
                      <a:pt x="41883" y="0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22" name="object 13">
              <a:extLst>
                <a:ext uri="{FF2B5EF4-FFF2-40B4-BE49-F238E27FC236}">
                  <a16:creationId xmlns:a16="http://schemas.microsoft.com/office/drawing/2014/main" id="{7E5B0826-F496-42D4-2ABF-A97CDA263D6D}"/>
                </a:ext>
              </a:extLst>
            </p:cNvPr>
            <p:cNvGrpSpPr/>
            <p:nvPr/>
          </p:nvGrpSpPr>
          <p:grpSpPr>
            <a:xfrm>
              <a:off x="3323146" y="1872371"/>
              <a:ext cx="227038" cy="3206049"/>
              <a:chOff x="5926521" y="3517515"/>
              <a:chExt cx="335280" cy="4734560"/>
            </a:xfrm>
          </p:grpSpPr>
          <p:sp>
            <p:nvSpPr>
              <p:cNvPr id="55" name="object 14">
                <a:extLst>
                  <a:ext uri="{FF2B5EF4-FFF2-40B4-BE49-F238E27FC236}">
                    <a16:creationId xmlns:a16="http://schemas.microsoft.com/office/drawing/2014/main" id="{89E6EA38-6A81-1582-D5A7-B6C407B97A45}"/>
                  </a:ext>
                </a:extLst>
              </p:cNvPr>
              <p:cNvSpPr/>
              <p:nvPr/>
            </p:nvSpPr>
            <p:spPr>
              <a:xfrm>
                <a:off x="5936992" y="3873609"/>
                <a:ext cx="0" cy="4378325"/>
              </a:xfrm>
              <a:custGeom>
                <a:avLst/>
                <a:gdLst/>
                <a:ahLst/>
                <a:cxnLst/>
                <a:rect l="l" t="t" r="r" b="b"/>
                <a:pathLst>
                  <a:path h="4378325">
                    <a:moveTo>
                      <a:pt x="0" y="4377981"/>
                    </a:moveTo>
                    <a:lnTo>
                      <a:pt x="0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56" name="object 15">
                <a:extLst>
                  <a:ext uri="{FF2B5EF4-FFF2-40B4-BE49-F238E27FC236}">
                    <a16:creationId xmlns:a16="http://schemas.microsoft.com/office/drawing/2014/main" id="{CD50E4F5-5DF4-942D-898B-6E08EE983B75}"/>
                  </a:ext>
                </a:extLst>
              </p:cNvPr>
              <p:cNvSpPr/>
              <p:nvPr/>
            </p:nvSpPr>
            <p:spPr>
              <a:xfrm>
                <a:off x="5942968" y="3529483"/>
                <a:ext cx="277495" cy="251460"/>
              </a:xfrm>
              <a:custGeom>
                <a:avLst/>
                <a:gdLst/>
                <a:ahLst/>
                <a:cxnLst/>
                <a:rect l="l" t="t" r="r" b="b"/>
                <a:pathLst>
                  <a:path w="277495" h="251460">
                    <a:moveTo>
                      <a:pt x="0" y="251332"/>
                    </a:moveTo>
                    <a:lnTo>
                      <a:pt x="13863" y="202521"/>
                    </a:lnTo>
                    <a:lnTo>
                      <a:pt x="35059" y="157290"/>
                    </a:lnTo>
                    <a:lnTo>
                      <a:pt x="62894" y="116335"/>
                    </a:lnTo>
                    <a:lnTo>
                      <a:pt x="96673" y="80349"/>
                    </a:lnTo>
                    <a:lnTo>
                      <a:pt x="135703" y="50028"/>
                    </a:lnTo>
                    <a:lnTo>
                      <a:pt x="179289" y="26067"/>
                    </a:lnTo>
                    <a:lnTo>
                      <a:pt x="226737" y="9159"/>
                    </a:lnTo>
                    <a:lnTo>
                      <a:pt x="277352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57" name="object 16">
                <a:extLst>
                  <a:ext uri="{FF2B5EF4-FFF2-40B4-BE49-F238E27FC236}">
                    <a16:creationId xmlns:a16="http://schemas.microsoft.com/office/drawing/2014/main" id="{A559A6FC-BE2B-F5C4-050A-EFAABB4C054F}"/>
                  </a:ext>
                </a:extLst>
              </p:cNvPr>
              <p:cNvSpPr/>
              <p:nvPr/>
            </p:nvSpPr>
            <p:spPr>
              <a:xfrm>
                <a:off x="5926518" y="3517524"/>
                <a:ext cx="335280" cy="335280"/>
              </a:xfrm>
              <a:custGeom>
                <a:avLst/>
                <a:gdLst/>
                <a:ahLst/>
                <a:cxnLst/>
                <a:rect l="l" t="t" r="r" b="b"/>
                <a:pathLst>
                  <a:path w="335279" h="335279">
                    <a:moveTo>
                      <a:pt x="20942" y="324599"/>
                    </a:moveTo>
                    <a:lnTo>
                      <a:pt x="17881" y="317195"/>
                    </a:lnTo>
                    <a:lnTo>
                      <a:pt x="10477" y="314121"/>
                    </a:lnTo>
                    <a:lnTo>
                      <a:pt x="3073" y="317195"/>
                    </a:lnTo>
                    <a:lnTo>
                      <a:pt x="0" y="324599"/>
                    </a:lnTo>
                    <a:lnTo>
                      <a:pt x="3073" y="332003"/>
                    </a:lnTo>
                    <a:lnTo>
                      <a:pt x="10477" y="335064"/>
                    </a:lnTo>
                    <a:lnTo>
                      <a:pt x="17881" y="332003"/>
                    </a:lnTo>
                    <a:lnTo>
                      <a:pt x="20942" y="324599"/>
                    </a:lnTo>
                    <a:close/>
                  </a:path>
                  <a:path w="335279" h="335279">
                    <a:moveTo>
                      <a:pt x="335064" y="10464"/>
                    </a:moveTo>
                    <a:lnTo>
                      <a:pt x="332003" y="3060"/>
                    </a:lnTo>
                    <a:lnTo>
                      <a:pt x="324599" y="0"/>
                    </a:lnTo>
                    <a:lnTo>
                      <a:pt x="317195" y="3060"/>
                    </a:lnTo>
                    <a:lnTo>
                      <a:pt x="314134" y="10464"/>
                    </a:lnTo>
                    <a:lnTo>
                      <a:pt x="317195" y="17868"/>
                    </a:lnTo>
                    <a:lnTo>
                      <a:pt x="324599" y="20942"/>
                    </a:lnTo>
                    <a:lnTo>
                      <a:pt x="332003" y="17868"/>
                    </a:lnTo>
                    <a:lnTo>
                      <a:pt x="335064" y="10464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23" name="object 17">
              <a:extLst>
                <a:ext uri="{FF2B5EF4-FFF2-40B4-BE49-F238E27FC236}">
                  <a16:creationId xmlns:a16="http://schemas.microsoft.com/office/drawing/2014/main" id="{B28073F3-6020-CCD2-BECA-EBD2532009DF}"/>
                </a:ext>
              </a:extLst>
            </p:cNvPr>
            <p:cNvGrpSpPr/>
            <p:nvPr/>
          </p:nvGrpSpPr>
          <p:grpSpPr>
            <a:xfrm>
              <a:off x="3585493" y="1872371"/>
              <a:ext cx="2559765" cy="227038"/>
              <a:chOff x="6313944" y="3517515"/>
              <a:chExt cx="3780154" cy="335280"/>
            </a:xfrm>
          </p:grpSpPr>
          <p:sp>
            <p:nvSpPr>
              <p:cNvPr id="52" name="object 18">
                <a:extLst>
                  <a:ext uri="{FF2B5EF4-FFF2-40B4-BE49-F238E27FC236}">
                    <a16:creationId xmlns:a16="http://schemas.microsoft.com/office/drawing/2014/main" id="{4C38A7E6-1066-98D2-C580-D735479826F2}"/>
                  </a:ext>
                </a:extLst>
              </p:cNvPr>
              <p:cNvSpPr/>
              <p:nvPr/>
            </p:nvSpPr>
            <p:spPr>
              <a:xfrm>
                <a:off x="6313944" y="3527986"/>
                <a:ext cx="3424554" cy="0"/>
              </a:xfrm>
              <a:custGeom>
                <a:avLst/>
                <a:gdLst/>
                <a:ahLst/>
                <a:cxnLst/>
                <a:rect l="l" t="t" r="r" b="b"/>
                <a:pathLst>
                  <a:path w="3424554">
                    <a:moveTo>
                      <a:pt x="0" y="0"/>
                    </a:moveTo>
                    <a:lnTo>
                      <a:pt x="3423979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53" name="object 19">
                <a:extLst>
                  <a:ext uri="{FF2B5EF4-FFF2-40B4-BE49-F238E27FC236}">
                    <a16:creationId xmlns:a16="http://schemas.microsoft.com/office/drawing/2014/main" id="{3BE53713-1ABF-45F7-2F82-56A2797C6E61}"/>
                  </a:ext>
                </a:extLst>
              </p:cNvPr>
              <p:cNvSpPr/>
              <p:nvPr/>
            </p:nvSpPr>
            <p:spPr>
              <a:xfrm>
                <a:off x="9830637" y="3533965"/>
                <a:ext cx="251460" cy="277495"/>
              </a:xfrm>
              <a:custGeom>
                <a:avLst/>
                <a:gdLst/>
                <a:ahLst/>
                <a:cxnLst/>
                <a:rect l="l" t="t" r="r" b="b"/>
                <a:pathLst>
                  <a:path w="251459" h="277495">
                    <a:moveTo>
                      <a:pt x="0" y="0"/>
                    </a:moveTo>
                    <a:lnTo>
                      <a:pt x="48810" y="13860"/>
                    </a:lnTo>
                    <a:lnTo>
                      <a:pt x="94040" y="35055"/>
                    </a:lnTo>
                    <a:lnTo>
                      <a:pt x="134994" y="62889"/>
                    </a:lnTo>
                    <a:lnTo>
                      <a:pt x="170979" y="96669"/>
                    </a:lnTo>
                    <a:lnTo>
                      <a:pt x="201299" y="135700"/>
                    </a:lnTo>
                    <a:lnTo>
                      <a:pt x="225261" y="179287"/>
                    </a:lnTo>
                    <a:lnTo>
                      <a:pt x="242170" y="226736"/>
                    </a:lnTo>
                    <a:lnTo>
                      <a:pt x="251332" y="277352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54" name="object 20">
                <a:extLst>
                  <a:ext uri="{FF2B5EF4-FFF2-40B4-BE49-F238E27FC236}">
                    <a16:creationId xmlns:a16="http://schemas.microsoft.com/office/drawing/2014/main" id="{D73F6B89-9C24-E685-B8F7-5143CDEADC63}"/>
                  </a:ext>
                </a:extLst>
              </p:cNvPr>
              <p:cNvSpPr/>
              <p:nvPr/>
            </p:nvSpPr>
            <p:spPr>
              <a:xfrm>
                <a:off x="9758870" y="3517524"/>
                <a:ext cx="335280" cy="335280"/>
              </a:xfrm>
              <a:custGeom>
                <a:avLst/>
                <a:gdLst/>
                <a:ahLst/>
                <a:cxnLst/>
                <a:rect l="l" t="t" r="r" b="b"/>
                <a:pathLst>
                  <a:path w="335279" h="335279">
                    <a:moveTo>
                      <a:pt x="20929" y="10464"/>
                    </a:moveTo>
                    <a:lnTo>
                      <a:pt x="17868" y="3060"/>
                    </a:lnTo>
                    <a:lnTo>
                      <a:pt x="10464" y="0"/>
                    </a:lnTo>
                    <a:lnTo>
                      <a:pt x="3060" y="3060"/>
                    </a:lnTo>
                    <a:lnTo>
                      <a:pt x="0" y="10464"/>
                    </a:lnTo>
                    <a:lnTo>
                      <a:pt x="3060" y="17868"/>
                    </a:lnTo>
                    <a:lnTo>
                      <a:pt x="10464" y="20942"/>
                    </a:lnTo>
                    <a:lnTo>
                      <a:pt x="17868" y="17868"/>
                    </a:lnTo>
                    <a:lnTo>
                      <a:pt x="20929" y="10464"/>
                    </a:lnTo>
                    <a:close/>
                  </a:path>
                  <a:path w="335279" h="335279">
                    <a:moveTo>
                      <a:pt x="335064" y="324599"/>
                    </a:moveTo>
                    <a:lnTo>
                      <a:pt x="331990" y="317195"/>
                    </a:lnTo>
                    <a:lnTo>
                      <a:pt x="324586" y="314121"/>
                    </a:lnTo>
                    <a:lnTo>
                      <a:pt x="317182" y="317195"/>
                    </a:lnTo>
                    <a:lnTo>
                      <a:pt x="314121" y="324599"/>
                    </a:lnTo>
                    <a:lnTo>
                      <a:pt x="317182" y="332003"/>
                    </a:lnTo>
                    <a:lnTo>
                      <a:pt x="324586" y="335064"/>
                    </a:lnTo>
                    <a:lnTo>
                      <a:pt x="331990" y="332003"/>
                    </a:lnTo>
                    <a:lnTo>
                      <a:pt x="335064" y="324599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24" name="object 21">
              <a:extLst>
                <a:ext uri="{FF2B5EF4-FFF2-40B4-BE49-F238E27FC236}">
                  <a16:creationId xmlns:a16="http://schemas.microsoft.com/office/drawing/2014/main" id="{D912B15F-8799-7B6C-5F34-E6263B7F1C69}"/>
                </a:ext>
              </a:extLst>
            </p:cNvPr>
            <p:cNvGrpSpPr/>
            <p:nvPr/>
          </p:nvGrpSpPr>
          <p:grpSpPr>
            <a:xfrm>
              <a:off x="6130966" y="2134832"/>
              <a:ext cx="227038" cy="3206049"/>
              <a:chOff x="10072992" y="3905106"/>
              <a:chExt cx="335280" cy="4734560"/>
            </a:xfrm>
          </p:grpSpPr>
          <p:sp>
            <p:nvSpPr>
              <p:cNvPr id="49" name="object 22">
                <a:extLst>
                  <a:ext uri="{FF2B5EF4-FFF2-40B4-BE49-F238E27FC236}">
                    <a16:creationId xmlns:a16="http://schemas.microsoft.com/office/drawing/2014/main" id="{AFF3A81E-518C-7E77-7EB0-B276417480FA}"/>
                  </a:ext>
                </a:extLst>
              </p:cNvPr>
              <p:cNvSpPr/>
              <p:nvPr/>
            </p:nvSpPr>
            <p:spPr>
              <a:xfrm>
                <a:off x="10083463" y="3905106"/>
                <a:ext cx="0" cy="4378325"/>
              </a:xfrm>
              <a:custGeom>
                <a:avLst/>
                <a:gdLst/>
                <a:ahLst/>
                <a:cxnLst/>
                <a:rect l="l" t="t" r="r" b="b"/>
                <a:pathLst>
                  <a:path h="4378325">
                    <a:moveTo>
                      <a:pt x="0" y="0"/>
                    </a:moveTo>
                    <a:lnTo>
                      <a:pt x="0" y="4377981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50" name="object 23">
                <a:extLst>
                  <a:ext uri="{FF2B5EF4-FFF2-40B4-BE49-F238E27FC236}">
                    <a16:creationId xmlns:a16="http://schemas.microsoft.com/office/drawing/2014/main" id="{5F5B3569-3F4E-477A-6BE3-C16E0D116B18}"/>
                  </a:ext>
                </a:extLst>
              </p:cNvPr>
              <p:cNvSpPr/>
              <p:nvPr/>
            </p:nvSpPr>
            <p:spPr>
              <a:xfrm>
                <a:off x="10089439" y="8375882"/>
                <a:ext cx="277495" cy="251460"/>
              </a:xfrm>
              <a:custGeom>
                <a:avLst/>
                <a:gdLst/>
                <a:ahLst/>
                <a:cxnLst/>
                <a:rect l="l" t="t" r="r" b="b"/>
                <a:pathLst>
                  <a:path w="277495" h="251459">
                    <a:moveTo>
                      <a:pt x="0" y="0"/>
                    </a:moveTo>
                    <a:lnTo>
                      <a:pt x="13863" y="48811"/>
                    </a:lnTo>
                    <a:lnTo>
                      <a:pt x="35059" y="94042"/>
                    </a:lnTo>
                    <a:lnTo>
                      <a:pt x="62894" y="134998"/>
                    </a:lnTo>
                    <a:lnTo>
                      <a:pt x="96673" y="170984"/>
                    </a:lnTo>
                    <a:lnTo>
                      <a:pt x="135703" y="201306"/>
                    </a:lnTo>
                    <a:lnTo>
                      <a:pt x="179289" y="225269"/>
                    </a:lnTo>
                    <a:lnTo>
                      <a:pt x="226737" y="242180"/>
                    </a:lnTo>
                    <a:lnTo>
                      <a:pt x="277352" y="251343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51" name="object 24">
                <a:extLst>
                  <a:ext uri="{FF2B5EF4-FFF2-40B4-BE49-F238E27FC236}">
                    <a16:creationId xmlns:a16="http://schemas.microsoft.com/office/drawing/2014/main" id="{C5468CE2-1CE4-A6A3-B35D-A9CFBFB1BA49}"/>
                  </a:ext>
                </a:extLst>
              </p:cNvPr>
              <p:cNvSpPr/>
              <p:nvPr/>
            </p:nvSpPr>
            <p:spPr>
              <a:xfrm>
                <a:off x="10072993" y="8304117"/>
                <a:ext cx="335280" cy="335280"/>
              </a:xfrm>
              <a:custGeom>
                <a:avLst/>
                <a:gdLst/>
                <a:ahLst/>
                <a:cxnLst/>
                <a:rect l="l" t="t" r="r" b="b"/>
                <a:pathLst>
                  <a:path w="335279" h="335279">
                    <a:moveTo>
                      <a:pt x="20942" y="10477"/>
                    </a:moveTo>
                    <a:lnTo>
                      <a:pt x="17868" y="3073"/>
                    </a:lnTo>
                    <a:lnTo>
                      <a:pt x="10464" y="0"/>
                    </a:lnTo>
                    <a:lnTo>
                      <a:pt x="3060" y="3073"/>
                    </a:lnTo>
                    <a:lnTo>
                      <a:pt x="0" y="10477"/>
                    </a:lnTo>
                    <a:lnTo>
                      <a:pt x="3060" y="17881"/>
                    </a:lnTo>
                    <a:lnTo>
                      <a:pt x="10464" y="20942"/>
                    </a:lnTo>
                    <a:lnTo>
                      <a:pt x="17868" y="17881"/>
                    </a:lnTo>
                    <a:lnTo>
                      <a:pt x="20942" y="10477"/>
                    </a:lnTo>
                    <a:close/>
                  </a:path>
                  <a:path w="335279" h="335279">
                    <a:moveTo>
                      <a:pt x="335064" y="324599"/>
                    </a:moveTo>
                    <a:lnTo>
                      <a:pt x="332003" y="317195"/>
                    </a:lnTo>
                    <a:lnTo>
                      <a:pt x="324599" y="314134"/>
                    </a:lnTo>
                    <a:lnTo>
                      <a:pt x="317195" y="317195"/>
                    </a:lnTo>
                    <a:lnTo>
                      <a:pt x="314121" y="324599"/>
                    </a:lnTo>
                    <a:lnTo>
                      <a:pt x="317195" y="332003"/>
                    </a:lnTo>
                    <a:lnTo>
                      <a:pt x="324599" y="335076"/>
                    </a:lnTo>
                    <a:lnTo>
                      <a:pt x="332003" y="332003"/>
                    </a:lnTo>
                    <a:lnTo>
                      <a:pt x="335064" y="324599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25" name="object 25">
              <a:extLst>
                <a:ext uri="{FF2B5EF4-FFF2-40B4-BE49-F238E27FC236}">
                  <a16:creationId xmlns:a16="http://schemas.microsoft.com/office/drawing/2014/main" id="{EF0EC330-A54E-0A08-05C3-18798EA6B50D}"/>
                </a:ext>
              </a:extLst>
            </p:cNvPr>
            <p:cNvGrpSpPr/>
            <p:nvPr/>
          </p:nvGrpSpPr>
          <p:grpSpPr>
            <a:xfrm>
              <a:off x="6393312" y="5113658"/>
              <a:ext cx="2559765" cy="227038"/>
              <a:chOff x="10460414" y="8304114"/>
              <a:chExt cx="3780154" cy="335280"/>
            </a:xfrm>
          </p:grpSpPr>
          <p:sp>
            <p:nvSpPr>
              <p:cNvPr id="46" name="object 26">
                <a:extLst>
                  <a:ext uri="{FF2B5EF4-FFF2-40B4-BE49-F238E27FC236}">
                    <a16:creationId xmlns:a16="http://schemas.microsoft.com/office/drawing/2014/main" id="{50C051EC-07DA-E1CC-F6A5-24FCD3457D01}"/>
                  </a:ext>
                </a:extLst>
              </p:cNvPr>
              <p:cNvSpPr/>
              <p:nvPr/>
            </p:nvSpPr>
            <p:spPr>
              <a:xfrm>
                <a:off x="10460414" y="8628710"/>
                <a:ext cx="3424554" cy="0"/>
              </a:xfrm>
              <a:custGeom>
                <a:avLst/>
                <a:gdLst/>
                <a:ahLst/>
                <a:cxnLst/>
                <a:rect l="l" t="t" r="r" b="b"/>
                <a:pathLst>
                  <a:path w="3424555">
                    <a:moveTo>
                      <a:pt x="0" y="0"/>
                    </a:moveTo>
                    <a:lnTo>
                      <a:pt x="3423979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7" name="object 27">
                <a:extLst>
                  <a:ext uri="{FF2B5EF4-FFF2-40B4-BE49-F238E27FC236}">
                    <a16:creationId xmlns:a16="http://schemas.microsoft.com/office/drawing/2014/main" id="{0B53266E-05BF-7F85-FEEE-B771F63DCE06}"/>
                  </a:ext>
                </a:extLst>
              </p:cNvPr>
              <p:cNvSpPr/>
              <p:nvPr/>
            </p:nvSpPr>
            <p:spPr>
              <a:xfrm>
                <a:off x="13977108" y="8345379"/>
                <a:ext cx="251460" cy="277495"/>
              </a:xfrm>
              <a:custGeom>
                <a:avLst/>
                <a:gdLst/>
                <a:ahLst/>
                <a:cxnLst/>
                <a:rect l="l" t="t" r="r" b="b"/>
                <a:pathLst>
                  <a:path w="251459" h="277495">
                    <a:moveTo>
                      <a:pt x="0" y="277352"/>
                    </a:moveTo>
                    <a:lnTo>
                      <a:pt x="48810" y="263492"/>
                    </a:lnTo>
                    <a:lnTo>
                      <a:pt x="94040" y="242297"/>
                    </a:lnTo>
                    <a:lnTo>
                      <a:pt x="134994" y="214462"/>
                    </a:lnTo>
                    <a:lnTo>
                      <a:pt x="170979" y="180682"/>
                    </a:lnTo>
                    <a:lnTo>
                      <a:pt x="201299" y="141652"/>
                    </a:lnTo>
                    <a:lnTo>
                      <a:pt x="225261" y="98065"/>
                    </a:lnTo>
                    <a:lnTo>
                      <a:pt x="242170" y="50616"/>
                    </a:lnTo>
                    <a:lnTo>
                      <a:pt x="251332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8" name="object 28">
                <a:extLst>
                  <a:ext uri="{FF2B5EF4-FFF2-40B4-BE49-F238E27FC236}">
                    <a16:creationId xmlns:a16="http://schemas.microsoft.com/office/drawing/2014/main" id="{7CFA776A-F2E4-123F-8245-2A8CB70570F4}"/>
                  </a:ext>
                </a:extLst>
              </p:cNvPr>
              <p:cNvSpPr/>
              <p:nvPr/>
            </p:nvSpPr>
            <p:spPr>
              <a:xfrm>
                <a:off x="13905331" y="8304117"/>
                <a:ext cx="335280" cy="335280"/>
              </a:xfrm>
              <a:custGeom>
                <a:avLst/>
                <a:gdLst/>
                <a:ahLst/>
                <a:cxnLst/>
                <a:rect l="l" t="t" r="r" b="b"/>
                <a:pathLst>
                  <a:path w="335280" h="335279">
                    <a:moveTo>
                      <a:pt x="20942" y="324599"/>
                    </a:moveTo>
                    <a:lnTo>
                      <a:pt x="17881" y="317195"/>
                    </a:lnTo>
                    <a:lnTo>
                      <a:pt x="10477" y="314134"/>
                    </a:lnTo>
                    <a:lnTo>
                      <a:pt x="3073" y="317195"/>
                    </a:lnTo>
                    <a:lnTo>
                      <a:pt x="0" y="324599"/>
                    </a:lnTo>
                    <a:lnTo>
                      <a:pt x="3073" y="332003"/>
                    </a:lnTo>
                    <a:lnTo>
                      <a:pt x="10477" y="335076"/>
                    </a:lnTo>
                    <a:lnTo>
                      <a:pt x="17881" y="332003"/>
                    </a:lnTo>
                    <a:lnTo>
                      <a:pt x="20942" y="324599"/>
                    </a:lnTo>
                    <a:close/>
                  </a:path>
                  <a:path w="335280" h="335279">
                    <a:moveTo>
                      <a:pt x="335076" y="10477"/>
                    </a:moveTo>
                    <a:lnTo>
                      <a:pt x="332003" y="3073"/>
                    </a:lnTo>
                    <a:lnTo>
                      <a:pt x="324599" y="0"/>
                    </a:lnTo>
                    <a:lnTo>
                      <a:pt x="317195" y="3073"/>
                    </a:lnTo>
                    <a:lnTo>
                      <a:pt x="314134" y="10477"/>
                    </a:lnTo>
                    <a:lnTo>
                      <a:pt x="317195" y="17881"/>
                    </a:lnTo>
                    <a:lnTo>
                      <a:pt x="324599" y="20942"/>
                    </a:lnTo>
                    <a:lnTo>
                      <a:pt x="332003" y="17881"/>
                    </a:lnTo>
                    <a:lnTo>
                      <a:pt x="335076" y="10477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26" name="object 29">
              <a:extLst>
                <a:ext uri="{FF2B5EF4-FFF2-40B4-BE49-F238E27FC236}">
                  <a16:creationId xmlns:a16="http://schemas.microsoft.com/office/drawing/2014/main" id="{8FA7A9C2-7F49-B7E0-8589-A8C8E932789E}"/>
                </a:ext>
              </a:extLst>
            </p:cNvPr>
            <p:cNvGrpSpPr/>
            <p:nvPr/>
          </p:nvGrpSpPr>
          <p:grpSpPr>
            <a:xfrm>
              <a:off x="8938785" y="1872371"/>
              <a:ext cx="227038" cy="3206049"/>
              <a:chOff x="14219462" y="3517515"/>
              <a:chExt cx="335280" cy="4734560"/>
            </a:xfrm>
          </p:grpSpPr>
          <p:sp>
            <p:nvSpPr>
              <p:cNvPr id="43" name="object 30">
                <a:extLst>
                  <a:ext uri="{FF2B5EF4-FFF2-40B4-BE49-F238E27FC236}">
                    <a16:creationId xmlns:a16="http://schemas.microsoft.com/office/drawing/2014/main" id="{9FE12F61-0FB4-94ED-80BC-31C82915D246}"/>
                  </a:ext>
                </a:extLst>
              </p:cNvPr>
              <p:cNvSpPr/>
              <p:nvPr/>
            </p:nvSpPr>
            <p:spPr>
              <a:xfrm>
                <a:off x="14229933" y="3873609"/>
                <a:ext cx="0" cy="4378325"/>
              </a:xfrm>
              <a:custGeom>
                <a:avLst/>
                <a:gdLst/>
                <a:ahLst/>
                <a:cxnLst/>
                <a:rect l="l" t="t" r="r" b="b"/>
                <a:pathLst>
                  <a:path h="4378325">
                    <a:moveTo>
                      <a:pt x="0" y="4377981"/>
                    </a:moveTo>
                    <a:lnTo>
                      <a:pt x="0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4" name="object 31">
                <a:extLst>
                  <a:ext uri="{FF2B5EF4-FFF2-40B4-BE49-F238E27FC236}">
                    <a16:creationId xmlns:a16="http://schemas.microsoft.com/office/drawing/2014/main" id="{7AE019EF-E4A6-0AED-4E99-8DF49446C91A}"/>
                  </a:ext>
                </a:extLst>
              </p:cNvPr>
              <p:cNvSpPr/>
              <p:nvPr/>
            </p:nvSpPr>
            <p:spPr>
              <a:xfrm>
                <a:off x="14235909" y="3529483"/>
                <a:ext cx="277495" cy="251460"/>
              </a:xfrm>
              <a:custGeom>
                <a:avLst/>
                <a:gdLst/>
                <a:ahLst/>
                <a:cxnLst/>
                <a:rect l="l" t="t" r="r" b="b"/>
                <a:pathLst>
                  <a:path w="277494" h="251460">
                    <a:moveTo>
                      <a:pt x="0" y="251332"/>
                    </a:moveTo>
                    <a:lnTo>
                      <a:pt x="13863" y="202521"/>
                    </a:lnTo>
                    <a:lnTo>
                      <a:pt x="35059" y="157290"/>
                    </a:lnTo>
                    <a:lnTo>
                      <a:pt x="62894" y="116335"/>
                    </a:lnTo>
                    <a:lnTo>
                      <a:pt x="96673" y="80349"/>
                    </a:lnTo>
                    <a:lnTo>
                      <a:pt x="135703" y="50028"/>
                    </a:lnTo>
                    <a:lnTo>
                      <a:pt x="179289" y="26067"/>
                    </a:lnTo>
                    <a:lnTo>
                      <a:pt x="226737" y="9159"/>
                    </a:lnTo>
                    <a:lnTo>
                      <a:pt x="277352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5" name="object 32">
                <a:extLst>
                  <a:ext uri="{FF2B5EF4-FFF2-40B4-BE49-F238E27FC236}">
                    <a16:creationId xmlns:a16="http://schemas.microsoft.com/office/drawing/2014/main" id="{427E641D-8805-E277-9625-A8B0CD58682F}"/>
                  </a:ext>
                </a:extLst>
              </p:cNvPr>
              <p:cNvSpPr/>
              <p:nvPr/>
            </p:nvSpPr>
            <p:spPr>
              <a:xfrm>
                <a:off x="14219466" y="3517524"/>
                <a:ext cx="335280" cy="335280"/>
              </a:xfrm>
              <a:custGeom>
                <a:avLst/>
                <a:gdLst/>
                <a:ahLst/>
                <a:cxnLst/>
                <a:rect l="l" t="t" r="r" b="b"/>
                <a:pathLst>
                  <a:path w="335280" h="335279">
                    <a:moveTo>
                      <a:pt x="20942" y="324599"/>
                    </a:moveTo>
                    <a:lnTo>
                      <a:pt x="17868" y="317195"/>
                    </a:lnTo>
                    <a:lnTo>
                      <a:pt x="10464" y="314121"/>
                    </a:lnTo>
                    <a:lnTo>
                      <a:pt x="3060" y="317195"/>
                    </a:lnTo>
                    <a:lnTo>
                      <a:pt x="0" y="324599"/>
                    </a:lnTo>
                    <a:lnTo>
                      <a:pt x="3060" y="332003"/>
                    </a:lnTo>
                    <a:lnTo>
                      <a:pt x="10464" y="335064"/>
                    </a:lnTo>
                    <a:lnTo>
                      <a:pt x="17868" y="332003"/>
                    </a:lnTo>
                    <a:lnTo>
                      <a:pt x="20942" y="324599"/>
                    </a:lnTo>
                    <a:close/>
                  </a:path>
                  <a:path w="335280" h="335279">
                    <a:moveTo>
                      <a:pt x="335064" y="10464"/>
                    </a:moveTo>
                    <a:lnTo>
                      <a:pt x="331990" y="3060"/>
                    </a:lnTo>
                    <a:lnTo>
                      <a:pt x="324586" y="0"/>
                    </a:lnTo>
                    <a:lnTo>
                      <a:pt x="317195" y="3060"/>
                    </a:lnTo>
                    <a:lnTo>
                      <a:pt x="314121" y="10464"/>
                    </a:lnTo>
                    <a:lnTo>
                      <a:pt x="317195" y="17868"/>
                    </a:lnTo>
                    <a:lnTo>
                      <a:pt x="324586" y="20942"/>
                    </a:lnTo>
                    <a:lnTo>
                      <a:pt x="331990" y="17868"/>
                    </a:lnTo>
                    <a:lnTo>
                      <a:pt x="335064" y="10464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27" name="object 33">
              <a:extLst>
                <a:ext uri="{FF2B5EF4-FFF2-40B4-BE49-F238E27FC236}">
                  <a16:creationId xmlns:a16="http://schemas.microsoft.com/office/drawing/2014/main" id="{897E395E-A42B-F93A-89D3-E4E38620C2DA}"/>
                </a:ext>
              </a:extLst>
            </p:cNvPr>
            <p:cNvGrpSpPr/>
            <p:nvPr/>
          </p:nvGrpSpPr>
          <p:grpSpPr>
            <a:xfrm>
              <a:off x="9201506" y="1872371"/>
              <a:ext cx="2623405" cy="227038"/>
              <a:chOff x="14607437" y="3517515"/>
              <a:chExt cx="3874135" cy="335280"/>
            </a:xfrm>
          </p:grpSpPr>
          <p:sp>
            <p:nvSpPr>
              <p:cNvPr id="40" name="object 34">
                <a:extLst>
                  <a:ext uri="{FF2B5EF4-FFF2-40B4-BE49-F238E27FC236}">
                    <a16:creationId xmlns:a16="http://schemas.microsoft.com/office/drawing/2014/main" id="{A72F11A5-F3CB-EBCF-33D6-C86B7A8F2542}"/>
                  </a:ext>
                </a:extLst>
              </p:cNvPr>
              <p:cNvSpPr/>
              <p:nvPr/>
            </p:nvSpPr>
            <p:spPr>
              <a:xfrm>
                <a:off x="14607437" y="3527986"/>
                <a:ext cx="3517900" cy="0"/>
              </a:xfrm>
              <a:custGeom>
                <a:avLst/>
                <a:gdLst/>
                <a:ahLst/>
                <a:cxnLst/>
                <a:rect l="l" t="t" r="r" b="b"/>
                <a:pathLst>
                  <a:path w="3517900">
                    <a:moveTo>
                      <a:pt x="0" y="0"/>
                    </a:moveTo>
                    <a:lnTo>
                      <a:pt x="3517390" y="0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1" name="object 35">
                <a:extLst>
                  <a:ext uri="{FF2B5EF4-FFF2-40B4-BE49-F238E27FC236}">
                    <a16:creationId xmlns:a16="http://schemas.microsoft.com/office/drawing/2014/main" id="{E9FBEA00-C184-8D4E-59C3-200048294678}"/>
                  </a:ext>
                </a:extLst>
              </p:cNvPr>
              <p:cNvSpPr/>
              <p:nvPr/>
            </p:nvSpPr>
            <p:spPr>
              <a:xfrm>
                <a:off x="18217817" y="3533965"/>
                <a:ext cx="251460" cy="277495"/>
              </a:xfrm>
              <a:custGeom>
                <a:avLst/>
                <a:gdLst/>
                <a:ahLst/>
                <a:cxnLst/>
                <a:rect l="l" t="t" r="r" b="b"/>
                <a:pathLst>
                  <a:path w="251459" h="277495">
                    <a:moveTo>
                      <a:pt x="0" y="0"/>
                    </a:moveTo>
                    <a:lnTo>
                      <a:pt x="48810" y="13860"/>
                    </a:lnTo>
                    <a:lnTo>
                      <a:pt x="94040" y="35055"/>
                    </a:lnTo>
                    <a:lnTo>
                      <a:pt x="134994" y="62889"/>
                    </a:lnTo>
                    <a:lnTo>
                      <a:pt x="170979" y="96669"/>
                    </a:lnTo>
                    <a:lnTo>
                      <a:pt x="201299" y="135700"/>
                    </a:lnTo>
                    <a:lnTo>
                      <a:pt x="225261" y="179287"/>
                    </a:lnTo>
                    <a:lnTo>
                      <a:pt x="242170" y="226736"/>
                    </a:lnTo>
                    <a:lnTo>
                      <a:pt x="251332" y="277352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2" name="object 36">
                <a:extLst>
                  <a:ext uri="{FF2B5EF4-FFF2-40B4-BE49-F238E27FC236}">
                    <a16:creationId xmlns:a16="http://schemas.microsoft.com/office/drawing/2014/main" id="{DB1DF6D1-9675-BFD5-7522-A5686653BAC9}"/>
                  </a:ext>
                </a:extLst>
              </p:cNvPr>
              <p:cNvSpPr/>
              <p:nvPr/>
            </p:nvSpPr>
            <p:spPr>
              <a:xfrm>
                <a:off x="18146040" y="3517524"/>
                <a:ext cx="335280" cy="335280"/>
              </a:xfrm>
              <a:custGeom>
                <a:avLst/>
                <a:gdLst/>
                <a:ahLst/>
                <a:cxnLst/>
                <a:rect l="l" t="t" r="r" b="b"/>
                <a:pathLst>
                  <a:path w="335280" h="335279">
                    <a:moveTo>
                      <a:pt x="20942" y="10464"/>
                    </a:moveTo>
                    <a:lnTo>
                      <a:pt x="17881" y="3060"/>
                    </a:lnTo>
                    <a:lnTo>
                      <a:pt x="10477" y="0"/>
                    </a:lnTo>
                    <a:lnTo>
                      <a:pt x="3073" y="3060"/>
                    </a:lnTo>
                    <a:lnTo>
                      <a:pt x="0" y="10464"/>
                    </a:lnTo>
                    <a:lnTo>
                      <a:pt x="3073" y="17868"/>
                    </a:lnTo>
                    <a:lnTo>
                      <a:pt x="10477" y="20942"/>
                    </a:lnTo>
                    <a:lnTo>
                      <a:pt x="17881" y="17868"/>
                    </a:lnTo>
                    <a:lnTo>
                      <a:pt x="20942" y="10464"/>
                    </a:lnTo>
                    <a:close/>
                  </a:path>
                  <a:path w="335280" h="335279">
                    <a:moveTo>
                      <a:pt x="335076" y="324599"/>
                    </a:moveTo>
                    <a:lnTo>
                      <a:pt x="332003" y="317195"/>
                    </a:lnTo>
                    <a:lnTo>
                      <a:pt x="324599" y="314121"/>
                    </a:lnTo>
                    <a:lnTo>
                      <a:pt x="317195" y="317195"/>
                    </a:lnTo>
                    <a:lnTo>
                      <a:pt x="314134" y="324599"/>
                    </a:lnTo>
                    <a:lnTo>
                      <a:pt x="317195" y="332003"/>
                    </a:lnTo>
                    <a:lnTo>
                      <a:pt x="324599" y="335064"/>
                    </a:lnTo>
                    <a:lnTo>
                      <a:pt x="332003" y="332003"/>
                    </a:lnTo>
                    <a:lnTo>
                      <a:pt x="335076" y="324599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28" name="object 37">
              <a:extLst>
                <a:ext uri="{FF2B5EF4-FFF2-40B4-BE49-F238E27FC236}">
                  <a16:creationId xmlns:a16="http://schemas.microsoft.com/office/drawing/2014/main" id="{628F4EC7-BC30-BDE7-8951-7946439D516A}"/>
                </a:ext>
              </a:extLst>
            </p:cNvPr>
            <p:cNvGrpSpPr/>
            <p:nvPr/>
          </p:nvGrpSpPr>
          <p:grpSpPr>
            <a:xfrm>
              <a:off x="11789849" y="2134641"/>
              <a:ext cx="55469" cy="1408236"/>
              <a:chOff x="18429794" y="3904825"/>
              <a:chExt cx="81915" cy="2079625"/>
            </a:xfrm>
          </p:grpSpPr>
          <p:sp>
            <p:nvSpPr>
              <p:cNvPr id="37" name="object 38">
                <a:extLst>
                  <a:ext uri="{FF2B5EF4-FFF2-40B4-BE49-F238E27FC236}">
                    <a16:creationId xmlns:a16="http://schemas.microsoft.com/office/drawing/2014/main" id="{02C09891-3C21-02C6-D9EB-D6D62ACAA23D}"/>
                  </a:ext>
                </a:extLst>
              </p:cNvPr>
              <p:cNvSpPr/>
              <p:nvPr/>
            </p:nvSpPr>
            <p:spPr>
              <a:xfrm>
                <a:off x="18470641" y="3904825"/>
                <a:ext cx="0" cy="1975485"/>
              </a:xfrm>
              <a:custGeom>
                <a:avLst/>
                <a:gdLst/>
                <a:ahLst/>
                <a:cxnLst/>
                <a:rect l="l" t="t" r="r" b="b"/>
                <a:pathLst>
                  <a:path h="1975485">
                    <a:moveTo>
                      <a:pt x="0" y="0"/>
                    </a:moveTo>
                    <a:lnTo>
                      <a:pt x="0" y="1975426"/>
                    </a:lnTo>
                  </a:path>
                </a:pathLst>
              </a:custGeom>
              <a:ln w="20941">
                <a:solidFill>
                  <a:srgbClr val="1A0F5C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8" name="object 39">
                <a:extLst>
                  <a:ext uri="{FF2B5EF4-FFF2-40B4-BE49-F238E27FC236}">
                    <a16:creationId xmlns:a16="http://schemas.microsoft.com/office/drawing/2014/main" id="{151E7C42-172D-6132-7624-738CC62D3ECC}"/>
                  </a:ext>
                </a:extLst>
              </p:cNvPr>
              <p:cNvSpPr/>
              <p:nvPr/>
            </p:nvSpPr>
            <p:spPr>
              <a:xfrm>
                <a:off x="18460175" y="5901139"/>
                <a:ext cx="20955" cy="20955"/>
              </a:xfrm>
              <a:custGeom>
                <a:avLst/>
                <a:gdLst/>
                <a:ahLst/>
                <a:cxnLst/>
                <a:rect l="l" t="t" r="r" b="b"/>
                <a:pathLst>
                  <a:path w="20955" h="20954">
                    <a:moveTo>
                      <a:pt x="0" y="10470"/>
                    </a:moveTo>
                    <a:lnTo>
                      <a:pt x="3066" y="3066"/>
                    </a:lnTo>
                    <a:lnTo>
                      <a:pt x="10470" y="0"/>
                    </a:lnTo>
                    <a:lnTo>
                      <a:pt x="17874" y="3066"/>
                    </a:lnTo>
                    <a:lnTo>
                      <a:pt x="20941" y="10470"/>
                    </a:lnTo>
                    <a:lnTo>
                      <a:pt x="17874" y="17874"/>
                    </a:lnTo>
                    <a:lnTo>
                      <a:pt x="10470" y="20941"/>
                    </a:lnTo>
                    <a:lnTo>
                      <a:pt x="3066" y="17874"/>
                    </a:lnTo>
                    <a:lnTo>
                      <a:pt x="0" y="10470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9" name="object 40">
                <a:extLst>
                  <a:ext uri="{FF2B5EF4-FFF2-40B4-BE49-F238E27FC236}">
                    <a16:creationId xmlns:a16="http://schemas.microsoft.com/office/drawing/2014/main" id="{982D1E67-ADDC-FDB4-C1BE-B34D2B83D864}"/>
                  </a:ext>
                </a:extLst>
              </p:cNvPr>
              <p:cNvSpPr/>
              <p:nvPr/>
            </p:nvSpPr>
            <p:spPr>
              <a:xfrm>
                <a:off x="18429794" y="5871842"/>
                <a:ext cx="81915" cy="112395"/>
              </a:xfrm>
              <a:custGeom>
                <a:avLst/>
                <a:gdLst/>
                <a:ahLst/>
                <a:cxnLst/>
                <a:rect l="l" t="t" r="r" b="b"/>
                <a:pathLst>
                  <a:path w="81915" h="112395">
                    <a:moveTo>
                      <a:pt x="81704" y="0"/>
                    </a:moveTo>
                    <a:lnTo>
                      <a:pt x="0" y="0"/>
                    </a:lnTo>
                    <a:lnTo>
                      <a:pt x="40846" y="112268"/>
                    </a:lnTo>
                    <a:lnTo>
                      <a:pt x="81704" y="0"/>
                    </a:lnTo>
                    <a:close/>
                  </a:path>
                </a:pathLst>
              </a:custGeom>
              <a:solidFill>
                <a:srgbClr val="1A0F5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sp>
        <p:nvSpPr>
          <p:cNvPr id="29" name="object 41">
            <a:extLst>
              <a:ext uri="{FF2B5EF4-FFF2-40B4-BE49-F238E27FC236}">
                <a16:creationId xmlns:a16="http://schemas.microsoft.com/office/drawing/2014/main" id="{F4C96F15-577B-B15C-203B-09FF3BC4F88D}"/>
              </a:ext>
            </a:extLst>
          </p:cNvPr>
          <p:cNvSpPr txBox="1"/>
          <p:nvPr/>
        </p:nvSpPr>
        <p:spPr>
          <a:xfrm>
            <a:off x="940753" y="2362087"/>
            <a:ext cx="1900582" cy="2488815"/>
          </a:xfrm>
          <a:prstGeom prst="rect">
            <a:avLst/>
          </a:prstGeom>
          <a:solidFill>
            <a:srgbClr val="E8E7EF"/>
          </a:solidFill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30" name="object 42">
            <a:extLst>
              <a:ext uri="{FF2B5EF4-FFF2-40B4-BE49-F238E27FC236}">
                <a16:creationId xmlns:a16="http://schemas.microsoft.com/office/drawing/2014/main" id="{B506E51F-5613-26E7-A353-A53E1C21727E}"/>
              </a:ext>
            </a:extLst>
          </p:cNvPr>
          <p:cNvSpPr txBox="1"/>
          <p:nvPr/>
        </p:nvSpPr>
        <p:spPr>
          <a:xfrm>
            <a:off x="3760393" y="2362087"/>
            <a:ext cx="1900582" cy="2488815"/>
          </a:xfrm>
          <a:prstGeom prst="rect">
            <a:avLst/>
          </a:prstGeom>
          <a:solidFill>
            <a:srgbClr val="E8E7EF"/>
          </a:solidFill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endParaRPr sz="1650" dirty="0">
              <a:latin typeface="Arial"/>
              <a:cs typeface="Arial"/>
            </a:endParaRPr>
          </a:p>
        </p:txBody>
      </p:sp>
      <p:sp>
        <p:nvSpPr>
          <p:cNvPr id="31" name="object 43">
            <a:extLst>
              <a:ext uri="{FF2B5EF4-FFF2-40B4-BE49-F238E27FC236}">
                <a16:creationId xmlns:a16="http://schemas.microsoft.com/office/drawing/2014/main" id="{5A505723-704E-CFFD-48A1-8EC4B72D17D6}"/>
              </a:ext>
            </a:extLst>
          </p:cNvPr>
          <p:cNvSpPr txBox="1"/>
          <p:nvPr/>
        </p:nvSpPr>
        <p:spPr>
          <a:xfrm>
            <a:off x="6580025" y="2362087"/>
            <a:ext cx="1900582" cy="2488815"/>
          </a:xfrm>
          <a:prstGeom prst="rect">
            <a:avLst/>
          </a:prstGeom>
          <a:solidFill>
            <a:srgbClr val="E8E7EF"/>
          </a:solidFill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endParaRPr sz="1650" dirty="0">
              <a:latin typeface="Arial"/>
              <a:cs typeface="Arial"/>
            </a:endParaRPr>
          </a:p>
        </p:txBody>
      </p:sp>
      <p:sp>
        <p:nvSpPr>
          <p:cNvPr id="32" name="object 44">
            <a:extLst>
              <a:ext uri="{FF2B5EF4-FFF2-40B4-BE49-F238E27FC236}">
                <a16:creationId xmlns:a16="http://schemas.microsoft.com/office/drawing/2014/main" id="{08E01FBA-D2DC-58F0-60E0-F5A1D7DBDB34}"/>
              </a:ext>
            </a:extLst>
          </p:cNvPr>
          <p:cNvSpPr txBox="1"/>
          <p:nvPr/>
        </p:nvSpPr>
        <p:spPr>
          <a:xfrm>
            <a:off x="9399665" y="2362087"/>
            <a:ext cx="1900582" cy="2488815"/>
          </a:xfrm>
          <a:prstGeom prst="rect">
            <a:avLst/>
          </a:prstGeom>
          <a:solidFill>
            <a:srgbClr val="E8E7EF"/>
          </a:solidFill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endParaRPr sz="1650" dirty="0">
              <a:latin typeface="Arial"/>
              <a:cs typeface="Arial"/>
            </a:endParaRPr>
          </a:p>
        </p:txBody>
      </p:sp>
      <p:sp>
        <p:nvSpPr>
          <p:cNvPr id="68" name="Picture Placeholder 4">
            <a:extLst>
              <a:ext uri="{FF2B5EF4-FFF2-40B4-BE49-F238E27FC236}">
                <a16:creationId xmlns:a16="http://schemas.microsoft.com/office/drawing/2014/main" id="{14ECFD4A-0700-35A8-B66C-B18241C1EF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118360" y="2750635"/>
            <a:ext cx="823912" cy="8239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69" name="Picture Placeholder 4">
            <a:extLst>
              <a:ext uri="{FF2B5EF4-FFF2-40B4-BE49-F238E27FC236}">
                <a16:creationId xmlns:a16="http://schemas.microsoft.com/office/drawing/2014/main" id="{92AEF7A3-2A0A-2B14-37C2-B829F7959BD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479088" y="2740569"/>
            <a:ext cx="823912" cy="8239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70" name="Picture Placeholder 4">
            <a:extLst>
              <a:ext uri="{FF2B5EF4-FFF2-40B4-BE49-F238E27FC236}">
                <a16:creationId xmlns:a16="http://schemas.microsoft.com/office/drawing/2014/main" id="{98FA5A22-04AD-EB8D-179A-35A9DB75145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98728" y="2750635"/>
            <a:ext cx="823912" cy="8239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72" name="Picture Placeholder 4">
            <a:extLst>
              <a:ext uri="{FF2B5EF4-FFF2-40B4-BE49-F238E27FC236}">
                <a16:creationId xmlns:a16="http://schemas.microsoft.com/office/drawing/2014/main" id="{F8186E98-2FE0-A4D5-DD37-7EE65394961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938000" y="2746418"/>
            <a:ext cx="823912" cy="8239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73" name="Content Placeholder 2">
            <a:extLst>
              <a:ext uri="{FF2B5EF4-FFF2-40B4-BE49-F238E27FC236}">
                <a16:creationId xmlns:a16="http://schemas.microsoft.com/office/drawing/2014/main" id="{4D77C58D-E444-0CF9-27E3-810F2AA1F9F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74196" y="3860379"/>
            <a:ext cx="1633697" cy="823913"/>
          </a:xfrm>
        </p:spPr>
        <p:txBody>
          <a:bodyPr>
            <a:noAutofit/>
          </a:bodyPr>
          <a:lstStyle>
            <a:lvl1pPr marL="0" indent="0" algn="ctr">
              <a:buNone/>
              <a:defRPr sz="1000"/>
            </a:lvl1pPr>
            <a:lvl2pPr marL="457200" indent="0" algn="ctr">
              <a:buNone/>
              <a:defRPr sz="1000"/>
            </a:lvl2pPr>
            <a:lvl3pPr marL="914400" indent="0" algn="ctr">
              <a:buNone/>
              <a:defRPr sz="1000"/>
            </a:lvl3pPr>
            <a:lvl4pPr marL="1371600" indent="0" algn="ctr">
              <a:buNone/>
              <a:defRPr sz="1000"/>
            </a:lvl4pPr>
            <a:lvl5pPr marL="1828800" indent="0" algn="ctr">
              <a:buNone/>
              <a:defRPr sz="1000"/>
            </a:lvl5pPr>
          </a:lstStyle>
          <a:p>
            <a:pPr lvl="0"/>
            <a:r>
              <a:rPr lang="en-US" dirty="0"/>
              <a:t>Copy to go here</a:t>
            </a:r>
          </a:p>
        </p:txBody>
      </p:sp>
      <p:sp>
        <p:nvSpPr>
          <p:cNvPr id="74" name="Content Placeholder 2">
            <a:extLst>
              <a:ext uri="{FF2B5EF4-FFF2-40B4-BE49-F238E27FC236}">
                <a16:creationId xmlns:a16="http://schemas.microsoft.com/office/drawing/2014/main" id="{24319FDF-4BC8-DA5F-A36B-A72E07F231B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3893836" y="3860379"/>
            <a:ext cx="1633697" cy="823913"/>
          </a:xfrm>
        </p:spPr>
        <p:txBody>
          <a:bodyPr>
            <a:noAutofit/>
          </a:bodyPr>
          <a:lstStyle>
            <a:lvl1pPr marL="0" indent="0" algn="ctr">
              <a:buNone/>
              <a:defRPr sz="1000"/>
            </a:lvl1pPr>
            <a:lvl2pPr marL="457200" indent="0" algn="ctr">
              <a:buNone/>
              <a:defRPr sz="1000"/>
            </a:lvl2pPr>
            <a:lvl3pPr marL="914400" indent="0" algn="ctr">
              <a:buNone/>
              <a:defRPr sz="1000"/>
            </a:lvl3pPr>
            <a:lvl4pPr marL="1371600" indent="0" algn="ctr">
              <a:buNone/>
              <a:defRPr sz="1000"/>
            </a:lvl4pPr>
            <a:lvl5pPr marL="1828800" indent="0" algn="ctr">
              <a:buNone/>
              <a:defRPr sz="1000"/>
            </a:lvl5pPr>
          </a:lstStyle>
          <a:p>
            <a:pPr lvl="0"/>
            <a:r>
              <a:rPr lang="en-US" dirty="0"/>
              <a:t>Copy to go here</a:t>
            </a:r>
          </a:p>
        </p:txBody>
      </p:sp>
      <p:sp>
        <p:nvSpPr>
          <p:cNvPr id="75" name="Content Placeholder 2">
            <a:extLst>
              <a:ext uri="{FF2B5EF4-FFF2-40B4-BE49-F238E27FC236}">
                <a16:creationId xmlns:a16="http://schemas.microsoft.com/office/drawing/2014/main" id="{42977D04-ADBD-7281-8389-427A84DE9B79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6713468" y="3860379"/>
            <a:ext cx="1633697" cy="823913"/>
          </a:xfrm>
        </p:spPr>
        <p:txBody>
          <a:bodyPr>
            <a:noAutofit/>
          </a:bodyPr>
          <a:lstStyle>
            <a:lvl1pPr marL="0" indent="0" algn="ctr">
              <a:buNone/>
              <a:defRPr sz="1000"/>
            </a:lvl1pPr>
            <a:lvl2pPr marL="457200" indent="0" algn="ctr">
              <a:buNone/>
              <a:defRPr sz="1000"/>
            </a:lvl2pPr>
            <a:lvl3pPr marL="914400" indent="0" algn="ctr">
              <a:buNone/>
              <a:defRPr sz="1000"/>
            </a:lvl3pPr>
            <a:lvl4pPr marL="1371600" indent="0" algn="ctr">
              <a:buNone/>
              <a:defRPr sz="1000"/>
            </a:lvl4pPr>
            <a:lvl5pPr marL="1828800" indent="0" algn="ctr">
              <a:buNone/>
              <a:defRPr sz="1000"/>
            </a:lvl5pPr>
          </a:lstStyle>
          <a:p>
            <a:pPr lvl="0"/>
            <a:r>
              <a:rPr lang="en-US" dirty="0"/>
              <a:t>Copy to go here</a:t>
            </a:r>
          </a:p>
        </p:txBody>
      </p:sp>
      <p:sp>
        <p:nvSpPr>
          <p:cNvPr id="76" name="Content Placeholder 2">
            <a:extLst>
              <a:ext uri="{FF2B5EF4-FFF2-40B4-BE49-F238E27FC236}">
                <a16:creationId xmlns:a16="http://schemas.microsoft.com/office/drawing/2014/main" id="{CAA4FEF9-F31D-8C24-2BF1-63A24C516295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9533108" y="3860379"/>
            <a:ext cx="1633697" cy="823913"/>
          </a:xfrm>
        </p:spPr>
        <p:txBody>
          <a:bodyPr>
            <a:noAutofit/>
          </a:bodyPr>
          <a:lstStyle>
            <a:lvl1pPr marL="0" indent="0" algn="ctr">
              <a:buNone/>
              <a:defRPr sz="1000"/>
            </a:lvl1pPr>
            <a:lvl2pPr marL="457200" indent="0" algn="ctr">
              <a:buNone/>
              <a:defRPr sz="1000"/>
            </a:lvl2pPr>
            <a:lvl3pPr marL="914400" indent="0" algn="ctr">
              <a:buNone/>
              <a:defRPr sz="1000"/>
            </a:lvl3pPr>
            <a:lvl4pPr marL="1371600" indent="0" algn="ctr">
              <a:buNone/>
              <a:defRPr sz="1000"/>
            </a:lvl4pPr>
            <a:lvl5pPr marL="1828800" indent="0" algn="ctr">
              <a:buNone/>
              <a:defRPr sz="1000"/>
            </a:lvl5pPr>
          </a:lstStyle>
          <a:p>
            <a:pPr lvl="0"/>
            <a:r>
              <a:rPr lang="en-US" dirty="0"/>
              <a:t>Copy to go here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80DFCAAE-784D-8441-000D-4AF12A9E1F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1600" dirty="0"/>
            </a:lvl1pPr>
          </a:lstStyle>
          <a:p>
            <a:pPr marL="228600" lvl="0" indent="-228600"/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E1B59C-F715-3414-C3E9-F74A41D642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6988633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pe - 1">
    <p:bg>
      <p:bgPr>
        <a:blipFill dpi="0" rotWithShape="1">
          <a:blip r:embed="rId2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0C8B99-C9AA-E384-930D-5E4C4718AA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7156A2-AAC0-9B45-FB5E-AE7B93E72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4888865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pe - 2">
    <p:bg>
      <p:bgPr>
        <a:blipFill dpi="0" rotWithShape="1">
          <a:blip r:embed="rId2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EAE7F5-893E-A665-D889-15C365D74E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50C8AC-A727-D801-86D0-1A331FCE8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0094615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pe - 3">
    <p:bg>
      <p:bgPr>
        <a:blipFill dpi="0" rotWithShape="1">
          <a:blip r:embed="rId2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4E30DEF-5321-7CC4-4A0C-347592D552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535536-6F0A-E1DD-ABEF-419B2B3F8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3527601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pe - 4">
    <p:bg>
      <p:bgPr>
        <a:blipFill dpi="0" rotWithShape="1">
          <a:blip r:embed="rId2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34C512-6D8E-8B3F-7C8E-63DB6C6883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10FC53-E775-BE26-8CEA-9917C525B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4861099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9A1030D-22C8-5F68-9B50-298D99C4F0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175" y="1170535"/>
            <a:ext cx="7301457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4A55360-4235-A19B-584F-72D1D033C7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175" y="1740535"/>
            <a:ext cx="5403308" cy="369332"/>
          </a:xfrm>
        </p:spPr>
        <p:txBody>
          <a:bodyPr anchor="ctr">
            <a:no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en-GB" dirty="0"/>
              <a:t>Subject Header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AAFBE375-306E-55C3-C9A5-5A771D29D6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4175" y="2164087"/>
            <a:ext cx="5403308" cy="1645913"/>
          </a:xfrm>
        </p:spPr>
        <p:txBody>
          <a:bodyPr anchor="t">
            <a:no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en-GB" dirty="0"/>
              <a:t>Copy</a:t>
            </a:r>
            <a:endParaRPr lang="en-US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64DB6396-FF36-173F-4120-40BE3E5249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4175" y="4085081"/>
            <a:ext cx="5403308" cy="369332"/>
          </a:xfrm>
        </p:spPr>
        <p:txBody>
          <a:bodyPr anchor="ctr">
            <a:no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en-GB" dirty="0"/>
              <a:t>Subject Header</a:t>
            </a:r>
            <a:endParaRPr lang="en-US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DEF3A942-1C22-F263-9D6F-5D98F82464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175" y="4508633"/>
            <a:ext cx="5403308" cy="1645913"/>
          </a:xfrm>
        </p:spPr>
        <p:txBody>
          <a:bodyPr anchor="t">
            <a:no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en-GB" dirty="0"/>
              <a:t>Copy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C0A8F83-7E33-1521-974A-F980172DB5C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70600" y="0"/>
            <a:ext cx="6118800" cy="6858000"/>
          </a:xfrm>
          <a:custGeom>
            <a:avLst/>
            <a:gdLst>
              <a:gd name="connsiteX0" fmla="*/ 3049853 w 6118800"/>
              <a:gd name="connsiteY0" fmla="*/ 0 h 6858000"/>
              <a:gd name="connsiteX1" fmla="*/ 6118800 w 6118800"/>
              <a:gd name="connsiteY1" fmla="*/ 0 h 6858000"/>
              <a:gd name="connsiteX2" fmla="*/ 6118800 w 6118800"/>
              <a:gd name="connsiteY2" fmla="*/ 6858000 h 6858000"/>
              <a:gd name="connsiteX3" fmla="*/ 0 w 61188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800" h="6858000">
                <a:moveTo>
                  <a:pt x="3049853" y="0"/>
                </a:moveTo>
                <a:lnTo>
                  <a:pt x="6118800" y="0"/>
                </a:lnTo>
                <a:lnTo>
                  <a:pt x="61188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05A3DA-FBE7-CD5B-5B77-C5C261C63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2135795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slide -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694BD34-3180-D411-4A2B-6BA518A170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/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81B42F-3040-A0A7-E1E6-5FD802E27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178895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ur slide -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435F4B-8E8A-47A0-944B-5D9538AF4E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E48206-BC0C-47BD-8FE1-900014F50460}"/>
              </a:ext>
            </a:extLst>
          </p:cNvPr>
          <p:cNvSpPr txBox="1"/>
          <p:nvPr userDrawn="1"/>
        </p:nvSpPr>
        <p:spPr>
          <a:xfrm>
            <a:off x="1610591" y="6356872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rculation</a:t>
            </a:r>
            <a:r>
              <a:rPr lang="en-GB" sz="800" spc="1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ed</a:t>
            </a:r>
            <a:r>
              <a:rPr lang="en-GB" sz="800" spc="12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GB" sz="800" spc="1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rcia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712C01A-ACE0-4CE0-8754-8A6F869B3F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908" y="6321119"/>
            <a:ext cx="739897" cy="245411"/>
          </a:xfrm>
          <a:prstGeom prst="rect">
            <a:avLst/>
          </a:prstGeom>
        </p:spPr>
      </p:pic>
      <p:sp>
        <p:nvSpPr>
          <p:cNvPr id="9" name="bg object 18">
            <a:extLst>
              <a:ext uri="{FF2B5EF4-FFF2-40B4-BE49-F238E27FC236}">
                <a16:creationId xmlns:a16="http://schemas.microsoft.com/office/drawing/2014/main" id="{B8FE5730-15CF-45F0-AB3C-EC8D491D8C11}"/>
              </a:ext>
            </a:extLst>
          </p:cNvPr>
          <p:cNvSpPr/>
          <p:nvPr userDrawn="1"/>
        </p:nvSpPr>
        <p:spPr>
          <a:xfrm>
            <a:off x="11307847" y="6356872"/>
            <a:ext cx="884153" cy="209659"/>
          </a:xfrm>
          <a:custGeom>
            <a:avLst/>
            <a:gdLst/>
            <a:ahLst/>
            <a:cxnLst/>
            <a:rect l="l" t="t" r="r" b="b"/>
            <a:pathLst>
              <a:path w="1566544" h="371475">
                <a:moveTo>
                  <a:pt x="214210" y="0"/>
                </a:moveTo>
                <a:lnTo>
                  <a:pt x="165100" y="0"/>
                </a:lnTo>
                <a:lnTo>
                  <a:pt x="0" y="370878"/>
                </a:lnTo>
                <a:lnTo>
                  <a:pt x="49110" y="370878"/>
                </a:lnTo>
                <a:lnTo>
                  <a:pt x="214210" y="0"/>
                </a:lnTo>
                <a:close/>
              </a:path>
              <a:path w="1566544" h="371475">
                <a:moveTo>
                  <a:pt x="1566252" y="0"/>
                </a:moveTo>
                <a:lnTo>
                  <a:pt x="254063" y="0"/>
                </a:lnTo>
                <a:lnTo>
                  <a:pt x="88950" y="370878"/>
                </a:lnTo>
                <a:lnTo>
                  <a:pt x="1566252" y="370878"/>
                </a:lnTo>
                <a:lnTo>
                  <a:pt x="1566252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8CECE90-0B6C-497D-ADB5-F0A29B2D0031}"/>
              </a:ext>
            </a:extLst>
          </p:cNvPr>
          <p:cNvSpPr txBox="1"/>
          <p:nvPr userDrawn="1"/>
        </p:nvSpPr>
        <p:spPr>
          <a:xfrm>
            <a:off x="11464173" y="6356872"/>
            <a:ext cx="5715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CAB9123-6C5D-6742-A884-75399720DA2F}" type="slidenum">
              <a:rPr 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AD47C1A-2C59-B90D-9F24-CEE7BA475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8813101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ur slide -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6D36AB-DAB0-6AAE-8698-A08D0635F1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70535"/>
            <a:ext cx="11430000" cy="44608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GB" dirty="0"/>
              <a:t>Optional sub-head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58DF92B-444B-450C-B2F4-A79799B25837}"/>
              </a:ext>
            </a:extLst>
          </p:cNvPr>
          <p:cNvSpPr txBox="1"/>
          <p:nvPr userDrawn="1"/>
        </p:nvSpPr>
        <p:spPr>
          <a:xfrm>
            <a:off x="1610591" y="6356872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rculation</a:t>
            </a:r>
            <a:r>
              <a:rPr lang="en-GB" sz="800" spc="1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ed</a:t>
            </a:r>
            <a:r>
              <a:rPr lang="en-GB" sz="800" spc="12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GB" sz="800" spc="1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rcia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772C313-D795-46AE-8166-2389B03542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908" y="6321119"/>
            <a:ext cx="739897" cy="245411"/>
          </a:xfrm>
          <a:prstGeom prst="rect">
            <a:avLst/>
          </a:prstGeom>
        </p:spPr>
      </p:pic>
      <p:sp>
        <p:nvSpPr>
          <p:cNvPr id="9" name="bg object 18">
            <a:extLst>
              <a:ext uri="{FF2B5EF4-FFF2-40B4-BE49-F238E27FC236}">
                <a16:creationId xmlns:a16="http://schemas.microsoft.com/office/drawing/2014/main" id="{040C9277-5BEA-4CEB-83C3-1F9BF1AD2140}"/>
              </a:ext>
            </a:extLst>
          </p:cNvPr>
          <p:cNvSpPr/>
          <p:nvPr userDrawn="1"/>
        </p:nvSpPr>
        <p:spPr>
          <a:xfrm>
            <a:off x="11307847" y="6356872"/>
            <a:ext cx="884153" cy="209659"/>
          </a:xfrm>
          <a:custGeom>
            <a:avLst/>
            <a:gdLst/>
            <a:ahLst/>
            <a:cxnLst/>
            <a:rect l="l" t="t" r="r" b="b"/>
            <a:pathLst>
              <a:path w="1566544" h="371475">
                <a:moveTo>
                  <a:pt x="214210" y="0"/>
                </a:moveTo>
                <a:lnTo>
                  <a:pt x="165100" y="0"/>
                </a:lnTo>
                <a:lnTo>
                  <a:pt x="0" y="370878"/>
                </a:lnTo>
                <a:lnTo>
                  <a:pt x="49110" y="370878"/>
                </a:lnTo>
                <a:lnTo>
                  <a:pt x="214210" y="0"/>
                </a:lnTo>
                <a:close/>
              </a:path>
              <a:path w="1566544" h="371475">
                <a:moveTo>
                  <a:pt x="1566252" y="0"/>
                </a:moveTo>
                <a:lnTo>
                  <a:pt x="254063" y="0"/>
                </a:lnTo>
                <a:lnTo>
                  <a:pt x="88950" y="370878"/>
                </a:lnTo>
                <a:lnTo>
                  <a:pt x="1566252" y="370878"/>
                </a:lnTo>
                <a:lnTo>
                  <a:pt x="1566252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02B5150-995D-45C5-872C-41053A7CCDB2}"/>
              </a:ext>
            </a:extLst>
          </p:cNvPr>
          <p:cNvSpPr txBox="1"/>
          <p:nvPr userDrawn="1"/>
        </p:nvSpPr>
        <p:spPr>
          <a:xfrm>
            <a:off x="11464173" y="6356872"/>
            <a:ext cx="5715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CAB9123-6C5D-6742-A884-75399720DA2F}" type="slidenum">
              <a:rPr 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DEAD1E-EFFC-6957-6E8E-0B38F6BBB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16964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9">
    <p:bg>
      <p:bgPr>
        <a:gradFill>
          <a:gsLst>
            <a:gs pos="0">
              <a:schemeClr val="accent4"/>
            </a:gs>
            <a:gs pos="100000">
              <a:schemeClr val="accent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7A2575A-1B6D-FE94-B186-EA598A25F0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13755" y="5"/>
            <a:ext cx="8377613" cy="6854893"/>
          </a:xfrm>
          <a:custGeom>
            <a:avLst/>
            <a:gdLst>
              <a:gd name="connsiteX0" fmla="*/ 820536 w 8377613"/>
              <a:gd name="connsiteY0" fmla="*/ 6758957 h 6854893"/>
              <a:gd name="connsiteX1" fmla="*/ 797675 w 8377613"/>
              <a:gd name="connsiteY1" fmla="*/ 6838999 h 6854893"/>
              <a:gd name="connsiteX2" fmla="*/ 779183 w 8377613"/>
              <a:gd name="connsiteY2" fmla="*/ 6838999 h 6854893"/>
              <a:gd name="connsiteX3" fmla="*/ 796978 w 8377613"/>
              <a:gd name="connsiteY3" fmla="*/ 6776815 h 6854893"/>
              <a:gd name="connsiteX4" fmla="*/ 5213067 w 8377613"/>
              <a:gd name="connsiteY4" fmla="*/ 6751421 h 6854893"/>
              <a:gd name="connsiteX5" fmla="*/ 5468657 w 8377613"/>
              <a:gd name="connsiteY5" fmla="*/ 6838998 h 6854893"/>
              <a:gd name="connsiteX6" fmla="*/ 5236688 w 8377613"/>
              <a:gd name="connsiteY6" fmla="*/ 6838998 h 6854893"/>
              <a:gd name="connsiteX7" fmla="*/ 3374160 w 8377613"/>
              <a:gd name="connsiteY7" fmla="*/ 6748192 h 6854893"/>
              <a:gd name="connsiteX8" fmla="*/ 3410446 w 8377613"/>
              <a:gd name="connsiteY8" fmla="*/ 6838999 h 6854893"/>
              <a:gd name="connsiteX9" fmla="*/ 3323814 w 8377613"/>
              <a:gd name="connsiteY9" fmla="*/ 6838999 h 6854893"/>
              <a:gd name="connsiteX10" fmla="*/ 4636849 w 8377613"/>
              <a:gd name="connsiteY10" fmla="*/ 6726535 h 6854893"/>
              <a:gd name="connsiteX11" fmla="*/ 4800931 w 8377613"/>
              <a:gd name="connsiteY11" fmla="*/ 6838999 h 6854893"/>
              <a:gd name="connsiteX12" fmla="*/ 4637102 w 8377613"/>
              <a:gd name="connsiteY12" fmla="*/ 6838999 h 6854893"/>
              <a:gd name="connsiteX13" fmla="*/ 7576834 w 8377613"/>
              <a:gd name="connsiteY13" fmla="*/ 6663020 h 6854893"/>
              <a:gd name="connsiteX14" fmla="*/ 7759218 w 8377613"/>
              <a:gd name="connsiteY14" fmla="*/ 6838998 h 6854893"/>
              <a:gd name="connsiteX15" fmla="*/ 6852176 w 8377613"/>
              <a:gd name="connsiteY15" fmla="*/ 6838998 h 6854893"/>
              <a:gd name="connsiteX16" fmla="*/ 6794358 w 8377613"/>
              <a:gd name="connsiteY16" fmla="*/ 6783209 h 6854893"/>
              <a:gd name="connsiteX17" fmla="*/ 2544314 w 8377613"/>
              <a:gd name="connsiteY17" fmla="*/ 6645290 h 6854893"/>
              <a:gd name="connsiteX18" fmla="*/ 2558689 w 8377613"/>
              <a:gd name="connsiteY18" fmla="*/ 6838998 h 6854893"/>
              <a:gd name="connsiteX19" fmla="*/ 2409679 w 8377613"/>
              <a:gd name="connsiteY19" fmla="*/ 6838998 h 6854893"/>
              <a:gd name="connsiteX20" fmla="*/ 2406196 w 8377613"/>
              <a:gd name="connsiteY20" fmla="*/ 6792011 h 6854893"/>
              <a:gd name="connsiteX21" fmla="*/ 5798468 w 8377613"/>
              <a:gd name="connsiteY21" fmla="*/ 6620847 h 6854893"/>
              <a:gd name="connsiteX22" fmla="*/ 6506345 w 8377613"/>
              <a:gd name="connsiteY22" fmla="*/ 6665110 h 6854893"/>
              <a:gd name="connsiteX23" fmla="*/ 6608429 w 8377613"/>
              <a:gd name="connsiteY23" fmla="*/ 6838998 h 6854893"/>
              <a:gd name="connsiteX24" fmla="*/ 5926453 w 8377613"/>
              <a:gd name="connsiteY24" fmla="*/ 6838998 h 6854893"/>
              <a:gd name="connsiteX25" fmla="*/ 4107873 w 8377613"/>
              <a:gd name="connsiteY25" fmla="*/ 6556763 h 6854893"/>
              <a:gd name="connsiteX26" fmla="*/ 4344909 w 8377613"/>
              <a:gd name="connsiteY26" fmla="*/ 6838998 h 6854893"/>
              <a:gd name="connsiteX27" fmla="*/ 4034350 w 8377613"/>
              <a:gd name="connsiteY27" fmla="*/ 6838998 h 6854893"/>
              <a:gd name="connsiteX28" fmla="*/ 1275228 w 8377613"/>
              <a:gd name="connsiteY28" fmla="*/ 6488942 h 6854893"/>
              <a:gd name="connsiteX29" fmla="*/ 1185429 w 8377613"/>
              <a:gd name="connsiteY29" fmla="*/ 6838998 h 6854893"/>
              <a:gd name="connsiteX30" fmla="*/ 1126788 w 8377613"/>
              <a:gd name="connsiteY30" fmla="*/ 6838998 h 6854893"/>
              <a:gd name="connsiteX31" fmla="*/ 1204618 w 8377613"/>
              <a:gd name="connsiteY31" fmla="*/ 6535485 h 6854893"/>
              <a:gd name="connsiteX32" fmla="*/ 8377613 w 8377613"/>
              <a:gd name="connsiteY32" fmla="*/ 6386674 h 6854893"/>
              <a:gd name="connsiteX33" fmla="*/ 8377613 w 8377613"/>
              <a:gd name="connsiteY33" fmla="*/ 6581333 h 6854893"/>
              <a:gd name="connsiteX34" fmla="*/ 8168758 w 8377613"/>
              <a:gd name="connsiteY34" fmla="*/ 6662387 h 6854893"/>
              <a:gd name="connsiteX35" fmla="*/ 7958194 w 8377613"/>
              <a:gd name="connsiteY35" fmla="*/ 6549480 h 6854893"/>
              <a:gd name="connsiteX36" fmla="*/ 3658881 w 8377613"/>
              <a:gd name="connsiteY36" fmla="*/ 6261736 h 6854893"/>
              <a:gd name="connsiteX37" fmla="*/ 3920297 w 8377613"/>
              <a:gd name="connsiteY37" fmla="*/ 6832919 h 6854893"/>
              <a:gd name="connsiteX38" fmla="*/ 3916877 w 8377613"/>
              <a:gd name="connsiteY38" fmla="*/ 6838998 h 6854893"/>
              <a:gd name="connsiteX39" fmla="*/ 3635006 w 8377613"/>
              <a:gd name="connsiteY39" fmla="*/ 6838998 h 6854893"/>
              <a:gd name="connsiteX40" fmla="*/ 3500688 w 8377613"/>
              <a:gd name="connsiteY40" fmla="*/ 6545491 h 6854893"/>
              <a:gd name="connsiteX41" fmla="*/ 2929726 w 8377613"/>
              <a:gd name="connsiteY41" fmla="*/ 6256860 h 6854893"/>
              <a:gd name="connsiteX42" fmla="*/ 2997550 w 8377613"/>
              <a:gd name="connsiteY42" fmla="*/ 6838998 h 6854893"/>
              <a:gd name="connsiteX43" fmla="*/ 2797878 w 8377613"/>
              <a:gd name="connsiteY43" fmla="*/ 6838998 h 6854893"/>
              <a:gd name="connsiteX44" fmla="*/ 2751965 w 8377613"/>
              <a:gd name="connsiteY44" fmla="*/ 6444553 h 6854893"/>
              <a:gd name="connsiteX45" fmla="*/ 1729921 w 8377613"/>
              <a:gd name="connsiteY45" fmla="*/ 6218929 h 6854893"/>
              <a:gd name="connsiteX46" fmla="*/ 1591423 w 8377613"/>
              <a:gd name="connsiteY46" fmla="*/ 6838999 h 6854893"/>
              <a:gd name="connsiteX47" fmla="*/ 1490479 w 8377613"/>
              <a:gd name="connsiteY47" fmla="*/ 6838999 h 6854893"/>
              <a:gd name="connsiteX48" fmla="*/ 1612195 w 8377613"/>
              <a:gd name="connsiteY48" fmla="*/ 6294158 h 6854893"/>
              <a:gd name="connsiteX49" fmla="*/ 7074899 w 8377613"/>
              <a:gd name="connsiteY49" fmla="*/ 6187710 h 6854893"/>
              <a:gd name="connsiteX50" fmla="*/ 7335619 w 8377613"/>
              <a:gd name="connsiteY50" fmla="*/ 6440500 h 6854893"/>
              <a:gd name="connsiteX51" fmla="*/ 6612797 w 8377613"/>
              <a:gd name="connsiteY51" fmla="*/ 6587348 h 6854893"/>
              <a:gd name="connsiteX52" fmla="*/ 6352014 w 8377613"/>
              <a:gd name="connsiteY52" fmla="*/ 6334622 h 6854893"/>
              <a:gd name="connsiteX53" fmla="*/ 5164749 w 8377613"/>
              <a:gd name="connsiteY53" fmla="*/ 6063342 h 6854893"/>
              <a:gd name="connsiteX54" fmla="*/ 5164749 w 8377613"/>
              <a:gd name="connsiteY54" fmla="*/ 6193726 h 6854893"/>
              <a:gd name="connsiteX55" fmla="*/ 5641416 w 8377613"/>
              <a:gd name="connsiteY55" fmla="*/ 6327023 h 6854893"/>
              <a:gd name="connsiteX56" fmla="*/ 5532049 w 8377613"/>
              <a:gd name="connsiteY56" fmla="*/ 6140027 h 6854893"/>
              <a:gd name="connsiteX57" fmla="*/ 4763251 w 8377613"/>
              <a:gd name="connsiteY57" fmla="*/ 6062708 h 6854893"/>
              <a:gd name="connsiteX58" fmla="*/ 4730701 w 8377613"/>
              <a:gd name="connsiteY58" fmla="*/ 6186190 h 6854893"/>
              <a:gd name="connsiteX59" fmla="*/ 4730764 w 8377613"/>
              <a:gd name="connsiteY59" fmla="*/ 6186190 h 6854893"/>
              <a:gd name="connsiteX60" fmla="*/ 5140304 w 8377613"/>
              <a:gd name="connsiteY60" fmla="*/ 6433344 h 6854893"/>
              <a:gd name="connsiteX61" fmla="*/ 5085272 w 8377613"/>
              <a:gd name="connsiteY61" fmla="*/ 6228491 h 6854893"/>
              <a:gd name="connsiteX62" fmla="*/ 4390441 w 8377613"/>
              <a:gd name="connsiteY62" fmla="*/ 5960250 h 6854893"/>
              <a:gd name="connsiteX63" fmla="*/ 4329520 w 8377613"/>
              <a:gd name="connsiteY63" fmla="*/ 6068914 h 6854893"/>
              <a:gd name="connsiteX64" fmla="*/ 4329520 w 8377613"/>
              <a:gd name="connsiteY64" fmla="*/ 6068978 h 6854893"/>
              <a:gd name="connsiteX65" fmla="*/ 4648375 w 8377613"/>
              <a:gd name="connsiteY65" fmla="*/ 6406938 h 6854893"/>
              <a:gd name="connsiteX66" fmla="*/ 4648248 w 8377613"/>
              <a:gd name="connsiteY66" fmla="*/ 6198982 h 6854893"/>
              <a:gd name="connsiteX67" fmla="*/ 2184613 w 8377613"/>
              <a:gd name="connsiteY67" fmla="*/ 5948851 h 6854893"/>
              <a:gd name="connsiteX68" fmla="*/ 2056944 w 8377613"/>
              <a:gd name="connsiteY68" fmla="*/ 6634397 h 6854893"/>
              <a:gd name="connsiteX69" fmla="*/ 1892166 w 8377613"/>
              <a:gd name="connsiteY69" fmla="*/ 6738376 h 6854893"/>
              <a:gd name="connsiteX70" fmla="*/ 2019835 w 8377613"/>
              <a:gd name="connsiteY70" fmla="*/ 6052829 h 6854893"/>
              <a:gd name="connsiteX71" fmla="*/ 5957547 w 8377613"/>
              <a:gd name="connsiteY71" fmla="*/ 5932577 h 6854893"/>
              <a:gd name="connsiteX72" fmla="*/ 5957484 w 8377613"/>
              <a:gd name="connsiteY72" fmla="*/ 5932641 h 6854893"/>
              <a:gd name="connsiteX73" fmla="*/ 5568335 w 8377613"/>
              <a:gd name="connsiteY73" fmla="*/ 5955944 h 6854893"/>
              <a:gd name="connsiteX74" fmla="*/ 5602722 w 8377613"/>
              <a:gd name="connsiteY74" fmla="*/ 6084429 h 6854893"/>
              <a:gd name="connsiteX75" fmla="*/ 6116753 w 8377613"/>
              <a:gd name="connsiteY75" fmla="*/ 6087405 h 6854893"/>
              <a:gd name="connsiteX76" fmla="*/ 8149696 w 8377613"/>
              <a:gd name="connsiteY76" fmla="*/ 5897559 h 6854893"/>
              <a:gd name="connsiteX77" fmla="*/ 8377612 w 8377613"/>
              <a:gd name="connsiteY77" fmla="*/ 6020851 h 6854893"/>
              <a:gd name="connsiteX78" fmla="*/ 8377612 w 8377613"/>
              <a:gd name="connsiteY78" fmla="*/ 6061632 h 6854893"/>
              <a:gd name="connsiteX79" fmla="*/ 7665050 w 8377613"/>
              <a:gd name="connsiteY79" fmla="*/ 6372426 h 6854893"/>
              <a:gd name="connsiteX80" fmla="*/ 7395401 w 8377613"/>
              <a:gd name="connsiteY80" fmla="*/ 6226591 h 6854893"/>
              <a:gd name="connsiteX81" fmla="*/ 3315201 w 8377613"/>
              <a:gd name="connsiteY81" fmla="*/ 5868430 h 6854893"/>
              <a:gd name="connsiteX82" fmla="*/ 3415893 w 8377613"/>
              <a:gd name="connsiteY82" fmla="*/ 6475645 h 6854893"/>
              <a:gd name="connsiteX83" fmla="*/ 3198362 w 8377613"/>
              <a:gd name="connsiteY83" fmla="*/ 6704308 h 6854893"/>
              <a:gd name="connsiteX84" fmla="*/ 3097671 w 8377613"/>
              <a:gd name="connsiteY84" fmla="*/ 6097094 h 6854893"/>
              <a:gd name="connsiteX85" fmla="*/ 4069814 w 8377613"/>
              <a:gd name="connsiteY85" fmla="*/ 5768568 h 6854893"/>
              <a:gd name="connsiteX86" fmla="*/ 3986158 w 8377613"/>
              <a:gd name="connsiteY86" fmla="*/ 5856019 h 6854893"/>
              <a:gd name="connsiteX87" fmla="*/ 4198179 w 8377613"/>
              <a:gd name="connsiteY87" fmla="*/ 6256987 h 6854893"/>
              <a:gd name="connsiteX88" fmla="*/ 4249854 w 8377613"/>
              <a:gd name="connsiteY88" fmla="*/ 6060049 h 6854893"/>
              <a:gd name="connsiteX89" fmla="*/ 2639306 w 8377613"/>
              <a:gd name="connsiteY89" fmla="*/ 5678837 h 6854893"/>
              <a:gd name="connsiteX90" fmla="*/ 2546657 w 8377613"/>
              <a:gd name="connsiteY90" fmla="*/ 6321894 h 6854893"/>
              <a:gd name="connsiteX91" fmla="*/ 2334763 w 8377613"/>
              <a:gd name="connsiteY91" fmla="*/ 6454494 h 6854893"/>
              <a:gd name="connsiteX92" fmla="*/ 2427411 w 8377613"/>
              <a:gd name="connsiteY92" fmla="*/ 5811438 h 6854893"/>
              <a:gd name="connsiteX93" fmla="*/ 555320 w 8377613"/>
              <a:gd name="connsiteY93" fmla="*/ 5619123 h 6854893"/>
              <a:gd name="connsiteX94" fmla="*/ 136977 w 8377613"/>
              <a:gd name="connsiteY94" fmla="*/ 6330063 h 6854893"/>
              <a:gd name="connsiteX95" fmla="*/ 110634 w 8377613"/>
              <a:gd name="connsiteY95" fmla="*/ 6341018 h 6854893"/>
              <a:gd name="connsiteX96" fmla="*/ 529039 w 8377613"/>
              <a:gd name="connsiteY96" fmla="*/ 5630078 h 6854893"/>
              <a:gd name="connsiteX97" fmla="*/ 6330040 w 8377613"/>
              <a:gd name="connsiteY97" fmla="*/ 5613741 h 6854893"/>
              <a:gd name="connsiteX98" fmla="*/ 5945262 w 8377613"/>
              <a:gd name="connsiteY98" fmla="*/ 5741465 h 6854893"/>
              <a:gd name="connsiteX99" fmla="*/ 6013710 w 8377613"/>
              <a:gd name="connsiteY99" fmla="*/ 5858790 h 6854893"/>
              <a:gd name="connsiteX100" fmla="*/ 6013655 w 8377613"/>
              <a:gd name="connsiteY100" fmla="*/ 5858805 h 6854893"/>
              <a:gd name="connsiteX101" fmla="*/ 6013719 w 8377613"/>
              <a:gd name="connsiteY101" fmla="*/ 5858805 h 6854893"/>
              <a:gd name="connsiteX102" fmla="*/ 6013710 w 8377613"/>
              <a:gd name="connsiteY102" fmla="*/ 5858790 h 6854893"/>
              <a:gd name="connsiteX103" fmla="*/ 6530852 w 8377613"/>
              <a:gd name="connsiteY103" fmla="*/ 5723418 h 6854893"/>
              <a:gd name="connsiteX104" fmla="*/ 7519966 w 8377613"/>
              <a:gd name="connsiteY104" fmla="*/ 5564348 h 6854893"/>
              <a:gd name="connsiteX105" fmla="*/ 7848636 w 8377613"/>
              <a:gd name="connsiteY105" fmla="*/ 5743175 h 6854893"/>
              <a:gd name="connsiteX106" fmla="*/ 7161278 w 8377613"/>
              <a:gd name="connsiteY106" fmla="*/ 6082466 h 6854893"/>
              <a:gd name="connsiteX107" fmla="*/ 6832608 w 8377613"/>
              <a:gd name="connsiteY107" fmla="*/ 5903702 h 6854893"/>
              <a:gd name="connsiteX108" fmla="*/ 3819669 w 8377613"/>
              <a:gd name="connsiteY108" fmla="*/ 5505710 h 6854893"/>
              <a:gd name="connsiteX109" fmla="*/ 3720182 w 8377613"/>
              <a:gd name="connsiteY109" fmla="*/ 5567324 h 6854893"/>
              <a:gd name="connsiteX110" fmla="*/ 3817326 w 8377613"/>
              <a:gd name="connsiteY110" fmla="*/ 6000841 h 6854893"/>
              <a:gd name="connsiteX111" fmla="*/ 3817390 w 8377613"/>
              <a:gd name="connsiteY111" fmla="*/ 6000778 h 6854893"/>
              <a:gd name="connsiteX112" fmla="*/ 3914344 w 8377613"/>
              <a:gd name="connsiteY112" fmla="*/ 5827396 h 6854893"/>
              <a:gd name="connsiteX113" fmla="*/ 1044842 w 8377613"/>
              <a:gd name="connsiteY113" fmla="*/ 5478797 h 6854893"/>
              <a:gd name="connsiteX114" fmla="*/ 669499 w 8377613"/>
              <a:gd name="connsiteY114" fmla="*/ 6158328 h 6854893"/>
              <a:gd name="connsiteX115" fmla="*/ 592303 w 8377613"/>
              <a:gd name="connsiteY115" fmla="*/ 6184481 h 6854893"/>
              <a:gd name="connsiteX116" fmla="*/ 967646 w 8377613"/>
              <a:gd name="connsiteY116" fmla="*/ 5504950 h 6854893"/>
              <a:gd name="connsiteX117" fmla="*/ 3093935 w 8377613"/>
              <a:gd name="connsiteY117" fmla="*/ 5408824 h 6854893"/>
              <a:gd name="connsiteX118" fmla="*/ 3036307 w 8377613"/>
              <a:gd name="connsiteY118" fmla="*/ 6009390 h 6854893"/>
              <a:gd name="connsiteX119" fmla="*/ 2777360 w 8377613"/>
              <a:gd name="connsiteY119" fmla="*/ 6170676 h 6854893"/>
              <a:gd name="connsiteX120" fmla="*/ 2834988 w 8377613"/>
              <a:gd name="connsiteY120" fmla="*/ 5570110 h 6854893"/>
              <a:gd name="connsiteX121" fmla="*/ 1534301 w 8377613"/>
              <a:gd name="connsiteY121" fmla="*/ 5338470 h 6854893"/>
              <a:gd name="connsiteX122" fmla="*/ 1202084 w 8377613"/>
              <a:gd name="connsiteY122" fmla="*/ 5986656 h 6854893"/>
              <a:gd name="connsiteX123" fmla="*/ 1074036 w 8377613"/>
              <a:gd name="connsiteY123" fmla="*/ 6028006 h 6854893"/>
              <a:gd name="connsiteX124" fmla="*/ 1406253 w 8377613"/>
              <a:gd name="connsiteY124" fmla="*/ 5379821 h 6854893"/>
              <a:gd name="connsiteX125" fmla="*/ 6620271 w 8377613"/>
              <a:gd name="connsiteY125" fmla="*/ 5199221 h 6854893"/>
              <a:gd name="connsiteX126" fmla="*/ 6267409 w 8377613"/>
              <a:gd name="connsiteY126" fmla="*/ 5428644 h 6854893"/>
              <a:gd name="connsiteX127" fmla="*/ 6367150 w 8377613"/>
              <a:gd name="connsiteY127" fmla="*/ 5525847 h 6854893"/>
              <a:gd name="connsiteX128" fmla="*/ 6850973 w 8377613"/>
              <a:gd name="connsiteY128" fmla="*/ 5253236 h 6854893"/>
              <a:gd name="connsiteX129" fmla="*/ 2023823 w 8377613"/>
              <a:gd name="connsiteY129" fmla="*/ 5198081 h 6854893"/>
              <a:gd name="connsiteX130" fmla="*/ 1734670 w 8377613"/>
              <a:gd name="connsiteY130" fmla="*/ 5814921 h 6854893"/>
              <a:gd name="connsiteX131" fmla="*/ 1555769 w 8377613"/>
              <a:gd name="connsiteY131" fmla="*/ 5871533 h 6854893"/>
              <a:gd name="connsiteX132" fmla="*/ 1844923 w 8377613"/>
              <a:gd name="connsiteY132" fmla="*/ 5254693 h 6854893"/>
              <a:gd name="connsiteX133" fmla="*/ 3652738 w 8377613"/>
              <a:gd name="connsiteY133" fmla="*/ 5193332 h 6854893"/>
              <a:gd name="connsiteX134" fmla="*/ 3545017 w 8377613"/>
              <a:gd name="connsiteY134" fmla="*/ 5226450 h 6854893"/>
              <a:gd name="connsiteX135" fmla="*/ 3527349 w 8377613"/>
              <a:gd name="connsiteY135" fmla="*/ 5661614 h 6854893"/>
              <a:gd name="connsiteX136" fmla="*/ 3660590 w 8377613"/>
              <a:gd name="connsiteY136" fmla="*/ 5521984 h 6854893"/>
              <a:gd name="connsiteX137" fmla="*/ 8377612 w 8377613"/>
              <a:gd name="connsiteY137" fmla="*/ 5103475 h 6854893"/>
              <a:gd name="connsiteX138" fmla="*/ 8377612 w 8377613"/>
              <a:gd name="connsiteY138" fmla="*/ 5417753 h 6854893"/>
              <a:gd name="connsiteX139" fmla="*/ 8161538 w 8377613"/>
              <a:gd name="connsiteY139" fmla="*/ 5587524 h 6854893"/>
              <a:gd name="connsiteX140" fmla="*/ 7852183 w 8377613"/>
              <a:gd name="connsiteY140" fmla="*/ 5516348 h 6854893"/>
              <a:gd name="connsiteX141" fmla="*/ 2513347 w 8377613"/>
              <a:gd name="connsiteY141" fmla="*/ 5057755 h 6854893"/>
              <a:gd name="connsiteX142" fmla="*/ 2267256 w 8377613"/>
              <a:gd name="connsiteY142" fmla="*/ 5643249 h 6854893"/>
              <a:gd name="connsiteX143" fmla="*/ 2037503 w 8377613"/>
              <a:gd name="connsiteY143" fmla="*/ 5715059 h 6854893"/>
              <a:gd name="connsiteX144" fmla="*/ 2283531 w 8377613"/>
              <a:gd name="connsiteY144" fmla="*/ 5129628 h 6854893"/>
              <a:gd name="connsiteX145" fmla="*/ 3002806 w 8377613"/>
              <a:gd name="connsiteY145" fmla="*/ 4917428 h 6854893"/>
              <a:gd name="connsiteX146" fmla="*/ 2799841 w 8377613"/>
              <a:gd name="connsiteY146" fmla="*/ 5471514 h 6854893"/>
              <a:gd name="connsiteX147" fmla="*/ 2519173 w 8377613"/>
              <a:gd name="connsiteY147" fmla="*/ 5558585 h 6854893"/>
              <a:gd name="connsiteX148" fmla="*/ 2722201 w 8377613"/>
              <a:gd name="connsiteY148" fmla="*/ 5004499 h 6854893"/>
              <a:gd name="connsiteX149" fmla="*/ 3575415 w 8377613"/>
              <a:gd name="connsiteY149" fmla="*/ 4855118 h 6854893"/>
              <a:gd name="connsiteX150" fmla="*/ 3467125 w 8377613"/>
              <a:gd name="connsiteY150" fmla="*/ 4859170 h 6854893"/>
              <a:gd name="connsiteX151" fmla="*/ 3342432 w 8377613"/>
              <a:gd name="connsiteY151" fmla="*/ 5266788 h 6854893"/>
              <a:gd name="connsiteX152" fmla="*/ 3500942 w 8377613"/>
              <a:gd name="connsiteY152" fmla="*/ 5168382 h 6854893"/>
              <a:gd name="connsiteX153" fmla="*/ 7802471 w 8377613"/>
              <a:gd name="connsiteY153" fmla="*/ 4830421 h 6854893"/>
              <a:gd name="connsiteX154" fmla="*/ 8179904 w 8377613"/>
              <a:gd name="connsiteY154" fmla="*/ 4918125 h 6854893"/>
              <a:gd name="connsiteX155" fmla="*/ 7578988 w 8377613"/>
              <a:gd name="connsiteY155" fmla="*/ 5437446 h 6854893"/>
              <a:gd name="connsiteX156" fmla="*/ 7201618 w 8377613"/>
              <a:gd name="connsiteY156" fmla="*/ 5349679 h 6854893"/>
              <a:gd name="connsiteX157" fmla="*/ 7048366 w 8377613"/>
              <a:gd name="connsiteY157" fmla="*/ 4703900 h 6854893"/>
              <a:gd name="connsiteX158" fmla="*/ 6802338 w 8377613"/>
              <a:gd name="connsiteY158" fmla="*/ 4712765 h 6854893"/>
              <a:gd name="connsiteX159" fmla="*/ 6802401 w 8377613"/>
              <a:gd name="connsiteY159" fmla="*/ 4712828 h 6854893"/>
              <a:gd name="connsiteX160" fmla="*/ 6508498 w 8377613"/>
              <a:gd name="connsiteY160" fmla="*/ 5033818 h 6854893"/>
              <a:gd name="connsiteX161" fmla="*/ 6634330 w 8377613"/>
              <a:gd name="connsiteY161" fmla="*/ 5102715 h 6854893"/>
              <a:gd name="connsiteX162" fmla="*/ 3486250 w 8377613"/>
              <a:gd name="connsiteY162" fmla="*/ 4491637 h 6854893"/>
              <a:gd name="connsiteX163" fmla="*/ 3268972 w 8377613"/>
              <a:gd name="connsiteY163" fmla="*/ 4845999 h 6854893"/>
              <a:gd name="connsiteX164" fmla="*/ 3269036 w 8377613"/>
              <a:gd name="connsiteY164" fmla="*/ 4846063 h 6854893"/>
              <a:gd name="connsiteX165" fmla="*/ 3440717 w 8377613"/>
              <a:gd name="connsiteY165" fmla="*/ 4793060 h 6854893"/>
              <a:gd name="connsiteX166" fmla="*/ 3587827 w 8377613"/>
              <a:gd name="connsiteY166" fmla="*/ 4515321 h 6854893"/>
              <a:gd name="connsiteX167" fmla="*/ 592683 w 8377613"/>
              <a:gd name="connsiteY167" fmla="*/ 4472450 h 6854893"/>
              <a:gd name="connsiteX168" fmla="*/ 27168 w 8377613"/>
              <a:gd name="connsiteY168" fmla="*/ 5039517 h 6854893"/>
              <a:gd name="connsiteX169" fmla="*/ 0 w 8377613"/>
              <a:gd name="connsiteY169" fmla="*/ 5043190 h 6854893"/>
              <a:gd name="connsiteX170" fmla="*/ 565516 w 8377613"/>
              <a:gd name="connsiteY170" fmla="*/ 4476123 h 6854893"/>
              <a:gd name="connsiteX171" fmla="*/ 1082269 w 8377613"/>
              <a:gd name="connsiteY171" fmla="*/ 4463774 h 6854893"/>
              <a:gd name="connsiteX172" fmla="*/ 564566 w 8377613"/>
              <a:gd name="connsiteY172" fmla="*/ 5012034 h 6854893"/>
              <a:gd name="connsiteX173" fmla="*/ 486356 w 8377613"/>
              <a:gd name="connsiteY173" fmla="*/ 5017227 h 6854893"/>
              <a:gd name="connsiteX174" fmla="*/ 1004059 w 8377613"/>
              <a:gd name="connsiteY174" fmla="*/ 4468967 h 6854893"/>
              <a:gd name="connsiteX175" fmla="*/ 1571791 w 8377613"/>
              <a:gd name="connsiteY175" fmla="*/ 4455036 h 6854893"/>
              <a:gd name="connsiteX176" fmla="*/ 1101900 w 8377613"/>
              <a:gd name="connsiteY176" fmla="*/ 4984552 h 6854893"/>
              <a:gd name="connsiteX177" fmla="*/ 972712 w 8377613"/>
              <a:gd name="connsiteY177" fmla="*/ 4991264 h 6854893"/>
              <a:gd name="connsiteX178" fmla="*/ 1442603 w 8377613"/>
              <a:gd name="connsiteY178" fmla="*/ 4461748 h 6854893"/>
              <a:gd name="connsiteX179" fmla="*/ 2061377 w 8377613"/>
              <a:gd name="connsiteY179" fmla="*/ 4446360 h 6854893"/>
              <a:gd name="connsiteX180" fmla="*/ 1639298 w 8377613"/>
              <a:gd name="connsiteY180" fmla="*/ 4957132 h 6854893"/>
              <a:gd name="connsiteX181" fmla="*/ 1459068 w 8377613"/>
              <a:gd name="connsiteY181" fmla="*/ 4965301 h 6854893"/>
              <a:gd name="connsiteX182" fmla="*/ 1881083 w 8377613"/>
              <a:gd name="connsiteY182" fmla="*/ 4454592 h 6854893"/>
              <a:gd name="connsiteX183" fmla="*/ 2550900 w 8377613"/>
              <a:gd name="connsiteY183" fmla="*/ 4437685 h 6854893"/>
              <a:gd name="connsiteX184" fmla="*/ 2176633 w 8377613"/>
              <a:gd name="connsiteY184" fmla="*/ 4929650 h 6854893"/>
              <a:gd name="connsiteX185" fmla="*/ 1945361 w 8377613"/>
              <a:gd name="connsiteY185" fmla="*/ 4939402 h 6854893"/>
              <a:gd name="connsiteX186" fmla="*/ 2319627 w 8377613"/>
              <a:gd name="connsiteY186" fmla="*/ 4447374 h 6854893"/>
              <a:gd name="connsiteX187" fmla="*/ 3040486 w 8377613"/>
              <a:gd name="connsiteY187" fmla="*/ 4428946 h 6854893"/>
              <a:gd name="connsiteX188" fmla="*/ 2714032 w 8377613"/>
              <a:gd name="connsiteY188" fmla="*/ 4902167 h 6854893"/>
              <a:gd name="connsiteX189" fmla="*/ 2431717 w 8377613"/>
              <a:gd name="connsiteY189" fmla="*/ 4913439 h 6854893"/>
              <a:gd name="connsiteX190" fmla="*/ 2758171 w 8377613"/>
              <a:gd name="connsiteY190" fmla="*/ 4440218 h 6854893"/>
              <a:gd name="connsiteX191" fmla="*/ 8377612 w 8377613"/>
              <a:gd name="connsiteY191" fmla="*/ 4361190 h 6854893"/>
              <a:gd name="connsiteX192" fmla="*/ 8377612 w 8377613"/>
              <a:gd name="connsiteY192" fmla="*/ 4683509 h 6854893"/>
              <a:gd name="connsiteX193" fmla="*/ 8123605 w 8377613"/>
              <a:gd name="connsiteY193" fmla="*/ 4693705 h 6854893"/>
              <a:gd name="connsiteX194" fmla="*/ 3595426 w 8377613"/>
              <a:gd name="connsiteY194" fmla="*/ 4148357 h 6854893"/>
              <a:gd name="connsiteX195" fmla="*/ 3305449 w 8377613"/>
              <a:gd name="connsiteY195" fmla="*/ 4428820 h 6854893"/>
              <a:gd name="connsiteX196" fmla="*/ 3478080 w 8377613"/>
              <a:gd name="connsiteY196" fmla="*/ 4422234 h 6854893"/>
              <a:gd name="connsiteX197" fmla="*/ 3683832 w 8377613"/>
              <a:gd name="connsiteY197" fmla="*/ 4196547 h 6854893"/>
              <a:gd name="connsiteX198" fmla="*/ 7101561 w 8377613"/>
              <a:gd name="connsiteY198" fmla="*/ 4109603 h 6854893"/>
              <a:gd name="connsiteX199" fmla="*/ 7101546 w 8377613"/>
              <a:gd name="connsiteY199" fmla="*/ 4109627 h 6854893"/>
              <a:gd name="connsiteX200" fmla="*/ 6856800 w 8377613"/>
              <a:gd name="connsiteY200" fmla="*/ 4184579 h 6854893"/>
              <a:gd name="connsiteX201" fmla="*/ 6646299 w 8377613"/>
              <a:gd name="connsiteY201" fmla="*/ 4579911 h 6854893"/>
              <a:gd name="connsiteX202" fmla="*/ 6790939 w 8377613"/>
              <a:gd name="connsiteY202" fmla="*/ 4613916 h 6854893"/>
              <a:gd name="connsiteX203" fmla="*/ 7101546 w 8377613"/>
              <a:gd name="connsiteY203" fmla="*/ 4109627 h 6854893"/>
              <a:gd name="connsiteX204" fmla="*/ 7101624 w 8377613"/>
              <a:gd name="connsiteY204" fmla="*/ 4109603 h 6854893"/>
              <a:gd name="connsiteX205" fmla="*/ 8294843 w 8377613"/>
              <a:gd name="connsiteY205" fmla="*/ 4016073 h 6854893"/>
              <a:gd name="connsiteX206" fmla="*/ 7828309 w 8377613"/>
              <a:gd name="connsiteY206" fmla="*/ 4689461 h 6854893"/>
              <a:gd name="connsiteX207" fmla="*/ 7425988 w 8377613"/>
              <a:gd name="connsiteY207" fmla="*/ 4704596 h 6854893"/>
              <a:gd name="connsiteX208" fmla="*/ 7892523 w 8377613"/>
              <a:gd name="connsiteY208" fmla="*/ 4031207 h 6854893"/>
              <a:gd name="connsiteX209" fmla="*/ 2932006 w 8377613"/>
              <a:gd name="connsiteY209" fmla="*/ 3914945 h 6854893"/>
              <a:gd name="connsiteX210" fmla="*/ 3197032 w 8377613"/>
              <a:gd name="connsiteY210" fmla="*/ 3975926 h 6854893"/>
              <a:gd name="connsiteX211" fmla="*/ 2776030 w 8377613"/>
              <a:gd name="connsiteY211" fmla="*/ 4341243 h 6854893"/>
              <a:gd name="connsiteX212" fmla="*/ 2511067 w 8377613"/>
              <a:gd name="connsiteY212" fmla="*/ 4280262 h 6854893"/>
              <a:gd name="connsiteX213" fmla="*/ 3782306 w 8377613"/>
              <a:gd name="connsiteY213" fmla="*/ 3851051 h 6854893"/>
              <a:gd name="connsiteX214" fmla="*/ 3782306 w 8377613"/>
              <a:gd name="connsiteY214" fmla="*/ 3851114 h 6854893"/>
              <a:gd name="connsiteX215" fmla="*/ 3443123 w 8377613"/>
              <a:gd name="connsiteY215" fmla="*/ 4043113 h 6854893"/>
              <a:gd name="connsiteX216" fmla="*/ 3605116 w 8377613"/>
              <a:gd name="connsiteY216" fmla="*/ 4080664 h 6854893"/>
              <a:gd name="connsiteX217" fmla="*/ 3852410 w 8377613"/>
              <a:gd name="connsiteY217" fmla="*/ 3919124 h 6854893"/>
              <a:gd name="connsiteX218" fmla="*/ 2522973 w 8377613"/>
              <a:gd name="connsiteY218" fmla="*/ 3810460 h 6854893"/>
              <a:gd name="connsiteX219" fmla="*/ 2740187 w 8377613"/>
              <a:gd name="connsiteY219" fmla="*/ 3859979 h 6854893"/>
              <a:gd name="connsiteX220" fmla="*/ 2270106 w 8377613"/>
              <a:gd name="connsiteY220" fmla="*/ 4230869 h 6854893"/>
              <a:gd name="connsiteX221" fmla="*/ 2052892 w 8377613"/>
              <a:gd name="connsiteY221" fmla="*/ 4181413 h 6854893"/>
              <a:gd name="connsiteX222" fmla="*/ 2113876 w 8377613"/>
              <a:gd name="connsiteY222" fmla="*/ 3706038 h 6854893"/>
              <a:gd name="connsiteX223" fmla="*/ 2283277 w 8377613"/>
              <a:gd name="connsiteY223" fmla="*/ 3743969 h 6854893"/>
              <a:gd name="connsiteX224" fmla="*/ 1764181 w 8377613"/>
              <a:gd name="connsiteY224" fmla="*/ 4120558 h 6854893"/>
              <a:gd name="connsiteX225" fmla="*/ 1594716 w 8377613"/>
              <a:gd name="connsiteY225" fmla="*/ 4082626 h 6854893"/>
              <a:gd name="connsiteX226" fmla="*/ 4029854 w 8377613"/>
              <a:gd name="connsiteY226" fmla="*/ 3616815 h 6854893"/>
              <a:gd name="connsiteX227" fmla="*/ 3667050 w 8377613"/>
              <a:gd name="connsiteY227" fmla="*/ 3712624 h 6854893"/>
              <a:gd name="connsiteX228" fmla="*/ 3808144 w 8377613"/>
              <a:gd name="connsiteY228" fmla="*/ 3789310 h 6854893"/>
              <a:gd name="connsiteX229" fmla="*/ 4078046 w 8377613"/>
              <a:gd name="connsiteY229" fmla="*/ 3699136 h 6854893"/>
              <a:gd name="connsiteX230" fmla="*/ 4029854 w 8377613"/>
              <a:gd name="connsiteY230" fmla="*/ 3616878 h 6854893"/>
              <a:gd name="connsiteX231" fmla="*/ 1704780 w 8377613"/>
              <a:gd name="connsiteY231" fmla="*/ 3601554 h 6854893"/>
              <a:gd name="connsiteX232" fmla="*/ 1826432 w 8377613"/>
              <a:gd name="connsiteY232" fmla="*/ 3628023 h 6854893"/>
              <a:gd name="connsiteX233" fmla="*/ 1258257 w 8377613"/>
              <a:gd name="connsiteY233" fmla="*/ 4010248 h 6854893"/>
              <a:gd name="connsiteX234" fmla="*/ 1136541 w 8377613"/>
              <a:gd name="connsiteY234" fmla="*/ 3983778 h 6854893"/>
              <a:gd name="connsiteX235" fmla="*/ 6998147 w 8377613"/>
              <a:gd name="connsiteY235" fmla="*/ 3509607 h 6854893"/>
              <a:gd name="connsiteX236" fmla="*/ 6772004 w 8377613"/>
              <a:gd name="connsiteY236" fmla="*/ 3649363 h 6854893"/>
              <a:gd name="connsiteX237" fmla="*/ 6664917 w 8377613"/>
              <a:gd name="connsiteY237" fmla="*/ 4095545 h 6854893"/>
              <a:gd name="connsiteX238" fmla="*/ 6819183 w 8377613"/>
              <a:gd name="connsiteY238" fmla="*/ 4090162 h 6854893"/>
              <a:gd name="connsiteX239" fmla="*/ 6998084 w 8377613"/>
              <a:gd name="connsiteY239" fmla="*/ 3509671 h 6854893"/>
              <a:gd name="connsiteX240" fmla="*/ 1295683 w 8377613"/>
              <a:gd name="connsiteY240" fmla="*/ 3497132 h 6854893"/>
              <a:gd name="connsiteX241" fmla="*/ 1369586 w 8377613"/>
              <a:gd name="connsiteY241" fmla="*/ 3512013 h 6854893"/>
              <a:gd name="connsiteX242" fmla="*/ 752268 w 8377613"/>
              <a:gd name="connsiteY242" fmla="*/ 3899873 h 6854893"/>
              <a:gd name="connsiteX243" fmla="*/ 678365 w 8377613"/>
              <a:gd name="connsiteY243" fmla="*/ 3884992 h 6854893"/>
              <a:gd name="connsiteX244" fmla="*/ 3224262 w 8377613"/>
              <a:gd name="connsiteY244" fmla="*/ 3461671 h 6854893"/>
              <a:gd name="connsiteX245" fmla="*/ 3455155 w 8377613"/>
              <a:gd name="connsiteY245" fmla="*/ 3586610 h 6854893"/>
              <a:gd name="connsiteX246" fmla="*/ 2973295 w 8377613"/>
              <a:gd name="connsiteY246" fmla="*/ 3825785 h 6854893"/>
              <a:gd name="connsiteX247" fmla="*/ 2742339 w 8377613"/>
              <a:gd name="connsiteY247" fmla="*/ 3700783 h 6854893"/>
              <a:gd name="connsiteX248" fmla="*/ 3957344 w 8377613"/>
              <a:gd name="connsiteY248" fmla="*/ 3456542 h 6854893"/>
              <a:gd name="connsiteX249" fmla="*/ 4069307 w 8377613"/>
              <a:gd name="connsiteY249" fmla="*/ 3564952 h 6854893"/>
              <a:gd name="connsiteX250" fmla="*/ 4342376 w 8377613"/>
              <a:gd name="connsiteY250" fmla="*/ 3548045 h 6854893"/>
              <a:gd name="connsiteX251" fmla="*/ 4318058 w 8377613"/>
              <a:gd name="connsiteY251" fmla="*/ 3457935 h 6854893"/>
              <a:gd name="connsiteX252" fmla="*/ 4318121 w 8377613"/>
              <a:gd name="connsiteY252" fmla="*/ 3457871 h 6854893"/>
              <a:gd name="connsiteX253" fmla="*/ 886586 w 8377613"/>
              <a:gd name="connsiteY253" fmla="*/ 3392648 h 6854893"/>
              <a:gd name="connsiteX254" fmla="*/ 912741 w 8377613"/>
              <a:gd name="connsiteY254" fmla="*/ 3396068 h 6854893"/>
              <a:gd name="connsiteX255" fmla="*/ 246345 w 8377613"/>
              <a:gd name="connsiteY255" fmla="*/ 3789563 h 6854893"/>
              <a:gd name="connsiteX256" fmla="*/ 220255 w 8377613"/>
              <a:gd name="connsiteY256" fmla="*/ 3786144 h 6854893"/>
              <a:gd name="connsiteX257" fmla="*/ 8377612 w 8377613"/>
              <a:gd name="connsiteY257" fmla="*/ 3340344 h 6854893"/>
              <a:gd name="connsiteX258" fmla="*/ 8377612 w 8377613"/>
              <a:gd name="connsiteY258" fmla="*/ 3748466 h 6854893"/>
              <a:gd name="connsiteX259" fmla="*/ 8179017 w 8377613"/>
              <a:gd name="connsiteY259" fmla="*/ 3810080 h 6854893"/>
              <a:gd name="connsiteX260" fmla="*/ 4290511 w 8377613"/>
              <a:gd name="connsiteY260" fmla="*/ 3287721 h 6854893"/>
              <a:gd name="connsiteX261" fmla="*/ 4367517 w 8377613"/>
              <a:gd name="connsiteY261" fmla="*/ 3418801 h 6854893"/>
              <a:gd name="connsiteX262" fmla="*/ 4625387 w 8377613"/>
              <a:gd name="connsiteY262" fmla="*/ 3472056 h 6854893"/>
              <a:gd name="connsiteX263" fmla="*/ 4625260 w 8377613"/>
              <a:gd name="connsiteY263" fmla="*/ 3380553 h 6854893"/>
              <a:gd name="connsiteX264" fmla="*/ 2870261 w 8377613"/>
              <a:gd name="connsiteY264" fmla="*/ 3258911 h 6854893"/>
              <a:gd name="connsiteX265" fmla="*/ 3059737 w 8377613"/>
              <a:gd name="connsiteY265" fmla="*/ 3360923 h 6854893"/>
              <a:gd name="connsiteX266" fmla="*/ 2530825 w 8377613"/>
              <a:gd name="connsiteY266" fmla="*/ 3592878 h 6854893"/>
              <a:gd name="connsiteX267" fmla="*/ 2341412 w 8377613"/>
              <a:gd name="connsiteY267" fmla="*/ 3490927 h 6854893"/>
              <a:gd name="connsiteX268" fmla="*/ 4641916 w 8377613"/>
              <a:gd name="connsiteY268" fmla="*/ 3212429 h 6854893"/>
              <a:gd name="connsiteX269" fmla="*/ 4680862 w 8377613"/>
              <a:gd name="connsiteY269" fmla="*/ 3356110 h 6854893"/>
              <a:gd name="connsiteX270" fmla="*/ 4680862 w 8377613"/>
              <a:gd name="connsiteY270" fmla="*/ 3356046 h 6854893"/>
              <a:gd name="connsiteX271" fmla="*/ 4721645 w 8377613"/>
              <a:gd name="connsiteY271" fmla="*/ 3376943 h 6854893"/>
              <a:gd name="connsiteX272" fmla="*/ 4748433 w 8377613"/>
              <a:gd name="connsiteY272" fmla="*/ 3276387 h 6854893"/>
              <a:gd name="connsiteX273" fmla="*/ 3608408 w 8377613"/>
              <a:gd name="connsiteY273" fmla="*/ 3106554 h 6854893"/>
              <a:gd name="connsiteX274" fmla="*/ 3791805 w 8377613"/>
              <a:gd name="connsiteY274" fmla="*/ 3283480 h 6854893"/>
              <a:gd name="connsiteX275" fmla="*/ 3284741 w 8377613"/>
              <a:gd name="connsiteY275" fmla="*/ 3387646 h 6854893"/>
              <a:gd name="connsiteX276" fmla="*/ 3101344 w 8377613"/>
              <a:gd name="connsiteY276" fmla="*/ 3210722 h 6854893"/>
              <a:gd name="connsiteX277" fmla="*/ 8172114 w 8377613"/>
              <a:gd name="connsiteY277" fmla="*/ 3096359 h 6854893"/>
              <a:gd name="connsiteX278" fmla="*/ 7881250 w 8377613"/>
              <a:gd name="connsiteY278" fmla="*/ 3885372 h 6854893"/>
              <a:gd name="connsiteX279" fmla="*/ 7481146 w 8377613"/>
              <a:gd name="connsiteY279" fmla="*/ 4008601 h 6854893"/>
              <a:gd name="connsiteX280" fmla="*/ 7772010 w 8377613"/>
              <a:gd name="connsiteY280" fmla="*/ 3219588 h 6854893"/>
              <a:gd name="connsiteX281" fmla="*/ 2516324 w 8377613"/>
              <a:gd name="connsiteY281" fmla="*/ 3056211 h 6854893"/>
              <a:gd name="connsiteX282" fmla="*/ 2664257 w 8377613"/>
              <a:gd name="connsiteY282" fmla="*/ 3135177 h 6854893"/>
              <a:gd name="connsiteX283" fmla="*/ 2088355 w 8377613"/>
              <a:gd name="connsiteY283" fmla="*/ 3360037 h 6854893"/>
              <a:gd name="connsiteX284" fmla="*/ 1940422 w 8377613"/>
              <a:gd name="connsiteY284" fmla="*/ 3281137 h 6854893"/>
              <a:gd name="connsiteX285" fmla="*/ 6735844 w 8377613"/>
              <a:gd name="connsiteY285" fmla="*/ 2946469 h 6854893"/>
              <a:gd name="connsiteX286" fmla="*/ 6735781 w 8377613"/>
              <a:gd name="connsiteY286" fmla="*/ 2946531 h 6854893"/>
              <a:gd name="connsiteX287" fmla="*/ 6545544 w 8377613"/>
              <a:gd name="connsiteY287" fmla="*/ 3145052 h 6854893"/>
              <a:gd name="connsiteX288" fmla="*/ 6555803 w 8377613"/>
              <a:gd name="connsiteY288" fmla="*/ 3613459 h 6854893"/>
              <a:gd name="connsiteX289" fmla="*/ 6709373 w 8377613"/>
              <a:gd name="connsiteY289" fmla="*/ 3566599 h 6854893"/>
              <a:gd name="connsiteX290" fmla="*/ 2162385 w 8377613"/>
              <a:gd name="connsiteY290" fmla="*/ 2853512 h 6854893"/>
              <a:gd name="connsiteX291" fmla="*/ 2268838 w 8377613"/>
              <a:gd name="connsiteY291" fmla="*/ 2909426 h 6854893"/>
              <a:gd name="connsiteX292" fmla="*/ 1645948 w 8377613"/>
              <a:gd name="connsiteY292" fmla="*/ 3127198 h 6854893"/>
              <a:gd name="connsiteX293" fmla="*/ 1539494 w 8377613"/>
              <a:gd name="connsiteY293" fmla="*/ 3071283 h 6854893"/>
              <a:gd name="connsiteX294" fmla="*/ 3556733 w 8377613"/>
              <a:gd name="connsiteY294" fmla="*/ 2837743 h 6854893"/>
              <a:gd name="connsiteX295" fmla="*/ 4053665 w 8377613"/>
              <a:gd name="connsiteY295" fmla="*/ 2867760 h 6854893"/>
              <a:gd name="connsiteX296" fmla="*/ 4179940 w 8377613"/>
              <a:gd name="connsiteY296" fmla="*/ 3081857 h 6854893"/>
              <a:gd name="connsiteX297" fmla="*/ 3683008 w 8377613"/>
              <a:gd name="connsiteY297" fmla="*/ 3051843 h 6854893"/>
              <a:gd name="connsiteX298" fmla="*/ 3330146 w 8377613"/>
              <a:gd name="connsiteY298" fmla="*/ 2824762 h 6854893"/>
              <a:gd name="connsiteX299" fmla="*/ 3480739 w 8377613"/>
              <a:gd name="connsiteY299" fmla="*/ 2969394 h 6854893"/>
              <a:gd name="connsiteX300" fmla="*/ 2931752 w 8377613"/>
              <a:gd name="connsiteY300" fmla="*/ 3054882 h 6854893"/>
              <a:gd name="connsiteX301" fmla="*/ 2781159 w 8377613"/>
              <a:gd name="connsiteY301" fmla="*/ 2910314 h 6854893"/>
              <a:gd name="connsiteX302" fmla="*/ 1808447 w 8377613"/>
              <a:gd name="connsiteY302" fmla="*/ 2650810 h 6854893"/>
              <a:gd name="connsiteX303" fmla="*/ 1873358 w 8377613"/>
              <a:gd name="connsiteY303" fmla="*/ 2683675 h 6854893"/>
              <a:gd name="connsiteX304" fmla="*/ 1203478 w 8377613"/>
              <a:gd name="connsiteY304" fmla="*/ 2894357 h 6854893"/>
              <a:gd name="connsiteX305" fmla="*/ 1138567 w 8377613"/>
              <a:gd name="connsiteY305" fmla="*/ 2861491 h 6854893"/>
              <a:gd name="connsiteX306" fmla="*/ 4072536 w 8377613"/>
              <a:gd name="connsiteY306" fmla="*/ 2600024 h 6854893"/>
              <a:gd name="connsiteX307" fmla="*/ 4526595 w 8377613"/>
              <a:gd name="connsiteY307" fmla="*/ 2754536 h 6854893"/>
              <a:gd name="connsiteX308" fmla="*/ 4590619 w 8377613"/>
              <a:gd name="connsiteY308" fmla="*/ 2989341 h 6854893"/>
              <a:gd name="connsiteX309" fmla="*/ 4136560 w 8377613"/>
              <a:gd name="connsiteY309" fmla="*/ 2834831 h 6854893"/>
              <a:gd name="connsiteX310" fmla="*/ 3051822 w 8377613"/>
              <a:gd name="connsiteY310" fmla="*/ 2542972 h 6854893"/>
              <a:gd name="connsiteX311" fmla="*/ 3169611 w 8377613"/>
              <a:gd name="connsiteY311" fmla="*/ 2655244 h 6854893"/>
              <a:gd name="connsiteX312" fmla="*/ 2578764 w 8377613"/>
              <a:gd name="connsiteY312" fmla="*/ 2722114 h 6854893"/>
              <a:gd name="connsiteX313" fmla="*/ 2461038 w 8377613"/>
              <a:gd name="connsiteY313" fmla="*/ 2609840 h 6854893"/>
              <a:gd name="connsiteX314" fmla="*/ 3334136 w 8377613"/>
              <a:gd name="connsiteY314" fmla="*/ 2471985 h 6854893"/>
              <a:gd name="connsiteX315" fmla="*/ 3865328 w 8377613"/>
              <a:gd name="connsiteY315" fmla="*/ 2530307 h 6854893"/>
              <a:gd name="connsiteX316" fmla="*/ 3969186 w 8377613"/>
              <a:gd name="connsiteY316" fmla="*/ 2705459 h 6854893"/>
              <a:gd name="connsiteX317" fmla="*/ 3438057 w 8377613"/>
              <a:gd name="connsiteY317" fmla="*/ 2647136 h 6854893"/>
              <a:gd name="connsiteX318" fmla="*/ 6323644 w 8377613"/>
              <a:gd name="connsiteY318" fmla="*/ 2462165 h 6854893"/>
              <a:gd name="connsiteX319" fmla="*/ 6323662 w 8377613"/>
              <a:gd name="connsiteY319" fmla="*/ 2462248 h 6854893"/>
              <a:gd name="connsiteX320" fmla="*/ 6185020 w 8377613"/>
              <a:gd name="connsiteY320" fmla="*/ 2709004 h 6854893"/>
              <a:gd name="connsiteX321" fmla="*/ 6318958 w 8377613"/>
              <a:gd name="connsiteY321" fmla="*/ 3167722 h 6854893"/>
              <a:gd name="connsiteX322" fmla="*/ 6460812 w 8377613"/>
              <a:gd name="connsiteY322" fmla="*/ 3080272 h 6854893"/>
              <a:gd name="connsiteX323" fmla="*/ 6323662 w 8377613"/>
              <a:gd name="connsiteY323" fmla="*/ 2462248 h 6854893"/>
              <a:gd name="connsiteX324" fmla="*/ 6323708 w 8377613"/>
              <a:gd name="connsiteY324" fmla="*/ 2462165 h 6854893"/>
              <a:gd name="connsiteX325" fmla="*/ 1454445 w 8377613"/>
              <a:gd name="connsiteY325" fmla="*/ 2448107 h 6854893"/>
              <a:gd name="connsiteX326" fmla="*/ 1477877 w 8377613"/>
              <a:gd name="connsiteY326" fmla="*/ 2457922 h 6854893"/>
              <a:gd name="connsiteX327" fmla="*/ 761071 w 8377613"/>
              <a:gd name="connsiteY327" fmla="*/ 2661508 h 6854893"/>
              <a:gd name="connsiteX328" fmla="*/ 737640 w 8377613"/>
              <a:gd name="connsiteY328" fmla="*/ 2651630 h 6854893"/>
              <a:gd name="connsiteX329" fmla="*/ 2773559 w 8377613"/>
              <a:gd name="connsiteY329" fmla="*/ 2261241 h 6854893"/>
              <a:gd name="connsiteX330" fmla="*/ 2858482 w 8377613"/>
              <a:gd name="connsiteY330" fmla="*/ 2341154 h 6854893"/>
              <a:gd name="connsiteX331" fmla="*/ 2225775 w 8377613"/>
              <a:gd name="connsiteY331" fmla="*/ 2389347 h 6854893"/>
              <a:gd name="connsiteX332" fmla="*/ 2140853 w 8377613"/>
              <a:gd name="connsiteY332" fmla="*/ 2309430 h 6854893"/>
              <a:gd name="connsiteX333" fmla="*/ 7806081 w 8377613"/>
              <a:gd name="connsiteY333" fmla="*/ 2223312 h 6854893"/>
              <a:gd name="connsiteX334" fmla="*/ 7722172 w 8377613"/>
              <a:gd name="connsiteY334" fmla="*/ 3078945 h 6854893"/>
              <a:gd name="connsiteX335" fmla="*/ 7352781 w 8377613"/>
              <a:gd name="connsiteY335" fmla="*/ 3308051 h 6854893"/>
              <a:gd name="connsiteX336" fmla="*/ 7436690 w 8377613"/>
              <a:gd name="connsiteY336" fmla="*/ 2452419 h 6854893"/>
              <a:gd name="connsiteX337" fmla="*/ 3956837 w 8377613"/>
              <a:gd name="connsiteY337" fmla="*/ 2197219 h 6854893"/>
              <a:gd name="connsiteX338" fmla="*/ 4435657 w 8377613"/>
              <a:gd name="connsiteY338" fmla="*/ 2387189 h 6854893"/>
              <a:gd name="connsiteX339" fmla="*/ 4488536 w 8377613"/>
              <a:gd name="connsiteY339" fmla="*/ 2579443 h 6854893"/>
              <a:gd name="connsiteX340" fmla="*/ 4009715 w 8377613"/>
              <a:gd name="connsiteY340" fmla="*/ 2389471 h 6854893"/>
              <a:gd name="connsiteX341" fmla="*/ 3111603 w 8377613"/>
              <a:gd name="connsiteY341" fmla="*/ 2106224 h 6854893"/>
              <a:gd name="connsiteX342" fmla="*/ 3676992 w 8377613"/>
              <a:gd name="connsiteY342" fmla="*/ 2192851 h 6854893"/>
              <a:gd name="connsiteX343" fmla="*/ 3758368 w 8377613"/>
              <a:gd name="connsiteY343" fmla="*/ 2329060 h 6854893"/>
              <a:gd name="connsiteX344" fmla="*/ 3192979 w 8377613"/>
              <a:gd name="connsiteY344" fmla="*/ 2242432 h 6854893"/>
              <a:gd name="connsiteX345" fmla="*/ 5781750 w 8377613"/>
              <a:gd name="connsiteY345" fmla="*/ 2095963 h 6854893"/>
              <a:gd name="connsiteX346" fmla="*/ 5707593 w 8377613"/>
              <a:gd name="connsiteY346" fmla="*/ 2376487 h 6854893"/>
              <a:gd name="connsiteX347" fmla="*/ 5963247 w 8377613"/>
              <a:gd name="connsiteY347" fmla="*/ 2792400 h 6854893"/>
              <a:gd name="connsiteX348" fmla="*/ 6082683 w 8377613"/>
              <a:gd name="connsiteY348" fmla="*/ 2668031 h 6854893"/>
              <a:gd name="connsiteX349" fmla="*/ 2495298 w 8377613"/>
              <a:gd name="connsiteY349" fmla="*/ 1979451 h 6854893"/>
              <a:gd name="connsiteX350" fmla="*/ 2547417 w 8377613"/>
              <a:gd name="connsiteY350" fmla="*/ 2027072 h 6854893"/>
              <a:gd name="connsiteX351" fmla="*/ 1872851 w 8377613"/>
              <a:gd name="connsiteY351" fmla="*/ 2056580 h 6854893"/>
              <a:gd name="connsiteX352" fmla="*/ 1820669 w 8377613"/>
              <a:gd name="connsiteY352" fmla="*/ 2008961 h 6854893"/>
              <a:gd name="connsiteX353" fmla="*/ 8377613 w 8377613"/>
              <a:gd name="connsiteY353" fmla="*/ 1857548 h 6854893"/>
              <a:gd name="connsiteX354" fmla="*/ 8377613 w 8377613"/>
              <a:gd name="connsiteY354" fmla="*/ 2230399 h 6854893"/>
              <a:gd name="connsiteX355" fmla="*/ 8303646 w 8377613"/>
              <a:gd name="connsiteY355" fmla="*/ 2736295 h 6854893"/>
              <a:gd name="connsiteX356" fmla="*/ 8001383 w 8377613"/>
              <a:gd name="connsiteY356" fmla="*/ 2924622 h 6854893"/>
              <a:gd name="connsiteX357" fmla="*/ 8135321 w 8377613"/>
              <a:gd name="connsiteY357" fmla="*/ 2008513 h 6854893"/>
              <a:gd name="connsiteX358" fmla="*/ 3841137 w 8377613"/>
              <a:gd name="connsiteY358" fmla="*/ 1794411 h 6854893"/>
              <a:gd name="connsiteX359" fmla="*/ 4344718 w 8377613"/>
              <a:gd name="connsiteY359" fmla="*/ 2019845 h 6854893"/>
              <a:gd name="connsiteX360" fmla="*/ 4386451 w 8377613"/>
              <a:gd name="connsiteY360" fmla="*/ 2169480 h 6854893"/>
              <a:gd name="connsiteX361" fmla="*/ 3882870 w 8377613"/>
              <a:gd name="connsiteY361" fmla="*/ 1944046 h 6854893"/>
              <a:gd name="connsiteX362" fmla="*/ 2889006 w 8377613"/>
              <a:gd name="connsiteY362" fmla="*/ 1740524 h 6854893"/>
              <a:gd name="connsiteX363" fmla="*/ 3488655 w 8377613"/>
              <a:gd name="connsiteY363" fmla="*/ 1855394 h 6854893"/>
              <a:gd name="connsiteX364" fmla="*/ 3547613 w 8377613"/>
              <a:gd name="connsiteY364" fmla="*/ 1952660 h 6854893"/>
              <a:gd name="connsiteX365" fmla="*/ 2947964 w 8377613"/>
              <a:gd name="connsiteY365" fmla="*/ 1837790 h 6854893"/>
              <a:gd name="connsiteX366" fmla="*/ 2216973 w 8377613"/>
              <a:gd name="connsiteY366" fmla="*/ 1697653 h 6854893"/>
              <a:gd name="connsiteX367" fmla="*/ 2236289 w 8377613"/>
              <a:gd name="connsiteY367" fmla="*/ 1712914 h 6854893"/>
              <a:gd name="connsiteX368" fmla="*/ 1519863 w 8377613"/>
              <a:gd name="connsiteY368" fmla="*/ 1723806 h 6854893"/>
              <a:gd name="connsiteX369" fmla="*/ 1500548 w 8377613"/>
              <a:gd name="connsiteY369" fmla="*/ 1708545 h 6854893"/>
              <a:gd name="connsiteX370" fmla="*/ 4596319 w 8377613"/>
              <a:gd name="connsiteY370" fmla="*/ 1684169 h 6854893"/>
              <a:gd name="connsiteX371" fmla="*/ 5007949 w 8377613"/>
              <a:gd name="connsiteY371" fmla="*/ 2025486 h 6854893"/>
              <a:gd name="connsiteX372" fmla="*/ 5009468 w 8377613"/>
              <a:gd name="connsiteY372" fmla="*/ 2177779 h 6854893"/>
              <a:gd name="connsiteX373" fmla="*/ 4597839 w 8377613"/>
              <a:gd name="connsiteY373" fmla="*/ 1836527 h 6854893"/>
              <a:gd name="connsiteX374" fmla="*/ 7207825 w 8377613"/>
              <a:gd name="connsiteY374" fmla="*/ 1461648 h 6854893"/>
              <a:gd name="connsiteX375" fmla="*/ 7349425 w 8377613"/>
              <a:gd name="connsiteY375" fmla="*/ 2327223 h 6854893"/>
              <a:gd name="connsiteX376" fmla="*/ 7038867 w 8377613"/>
              <a:gd name="connsiteY376" fmla="*/ 2652392 h 6854893"/>
              <a:gd name="connsiteX377" fmla="*/ 6897266 w 8377613"/>
              <a:gd name="connsiteY377" fmla="*/ 1786755 h 6854893"/>
              <a:gd name="connsiteX378" fmla="*/ 3725438 w 8377613"/>
              <a:gd name="connsiteY378" fmla="*/ 1391544 h 6854893"/>
              <a:gd name="connsiteX379" fmla="*/ 4253780 w 8377613"/>
              <a:gd name="connsiteY379" fmla="*/ 1652503 h 6854893"/>
              <a:gd name="connsiteX380" fmla="*/ 4284367 w 8377613"/>
              <a:gd name="connsiteY380" fmla="*/ 1759584 h 6854893"/>
              <a:gd name="connsiteX381" fmla="*/ 3756025 w 8377613"/>
              <a:gd name="connsiteY381" fmla="*/ 1498625 h 6854893"/>
              <a:gd name="connsiteX382" fmla="*/ 2666409 w 8377613"/>
              <a:gd name="connsiteY382" fmla="*/ 1374763 h 6854893"/>
              <a:gd name="connsiteX383" fmla="*/ 3300319 w 8377613"/>
              <a:gd name="connsiteY383" fmla="*/ 1517939 h 6854893"/>
              <a:gd name="connsiteX384" fmla="*/ 3336859 w 8377613"/>
              <a:gd name="connsiteY384" fmla="*/ 1576260 h 6854893"/>
              <a:gd name="connsiteX385" fmla="*/ 2702949 w 8377613"/>
              <a:gd name="connsiteY385" fmla="*/ 1433084 h 6854893"/>
              <a:gd name="connsiteX386" fmla="*/ 5247201 w 8377613"/>
              <a:gd name="connsiteY386" fmla="*/ 1300358 h 6854893"/>
              <a:gd name="connsiteX387" fmla="*/ 5828549 w 8377613"/>
              <a:gd name="connsiteY387" fmla="*/ 1919225 h 6854893"/>
              <a:gd name="connsiteX388" fmla="*/ 5826649 w 8377613"/>
              <a:gd name="connsiteY388" fmla="*/ 1926508 h 6854893"/>
              <a:gd name="connsiteX389" fmla="*/ 6025244 w 8377613"/>
              <a:gd name="connsiteY389" fmla="*/ 1573096 h 6854893"/>
              <a:gd name="connsiteX390" fmla="*/ 6411163 w 8377613"/>
              <a:gd name="connsiteY390" fmla="*/ 2306640 h 6854893"/>
              <a:gd name="connsiteX391" fmla="*/ 6407553 w 8377613"/>
              <a:gd name="connsiteY391" fmla="*/ 2313037 h 6854893"/>
              <a:gd name="connsiteX392" fmla="*/ 6679925 w 8377613"/>
              <a:gd name="connsiteY392" fmla="*/ 2028776 h 6854893"/>
              <a:gd name="connsiteX393" fmla="*/ 6855786 w 8377613"/>
              <a:gd name="connsiteY393" fmla="*/ 2821403 h 6854893"/>
              <a:gd name="connsiteX394" fmla="*/ 6850847 w 8377613"/>
              <a:gd name="connsiteY394" fmla="*/ 2826532 h 6854893"/>
              <a:gd name="connsiteX395" fmla="*/ 7174578 w 8377613"/>
              <a:gd name="connsiteY395" fmla="*/ 2626427 h 6854893"/>
              <a:gd name="connsiteX396" fmla="*/ 7140634 w 8377613"/>
              <a:gd name="connsiteY396" fmla="*/ 3421650 h 6854893"/>
              <a:gd name="connsiteX397" fmla="*/ 7134808 w 8377613"/>
              <a:gd name="connsiteY397" fmla="*/ 3425260 h 6854893"/>
              <a:gd name="connsiteX398" fmla="*/ 7485263 w 8377613"/>
              <a:gd name="connsiteY398" fmla="*/ 3317926 h 6854893"/>
              <a:gd name="connsiteX399" fmla="*/ 7255827 w 8377613"/>
              <a:gd name="connsiteY399" fmla="*/ 4062363 h 6854893"/>
              <a:gd name="connsiteX400" fmla="*/ 7249494 w 8377613"/>
              <a:gd name="connsiteY400" fmla="*/ 4064326 h 6854893"/>
              <a:gd name="connsiteX401" fmla="*/ 7601723 w 8377613"/>
              <a:gd name="connsiteY401" fmla="*/ 4051598 h 6854893"/>
              <a:gd name="connsiteX402" fmla="*/ 7203392 w 8377613"/>
              <a:gd name="connsiteY402" fmla="*/ 4698391 h 6854893"/>
              <a:gd name="connsiteX403" fmla="*/ 7197059 w 8377613"/>
              <a:gd name="connsiteY403" fmla="*/ 4698644 h 6854893"/>
              <a:gd name="connsiteX404" fmla="*/ 7527376 w 8377613"/>
              <a:gd name="connsiteY404" fmla="*/ 4775963 h 6854893"/>
              <a:gd name="connsiteX405" fmla="*/ 6996437 w 8377613"/>
              <a:gd name="connsiteY405" fmla="*/ 5287368 h 6854893"/>
              <a:gd name="connsiteX406" fmla="*/ 6990484 w 8377613"/>
              <a:gd name="connsiteY406" fmla="*/ 5285975 h 6854893"/>
              <a:gd name="connsiteX407" fmla="*/ 7277992 w 8377613"/>
              <a:gd name="connsiteY407" fmla="*/ 5443019 h 6854893"/>
              <a:gd name="connsiteX408" fmla="*/ 6657571 w 8377613"/>
              <a:gd name="connsiteY408" fmla="*/ 5792568 h 6854893"/>
              <a:gd name="connsiteX409" fmla="*/ 6652378 w 8377613"/>
              <a:gd name="connsiteY409" fmla="*/ 5789718 h 6854893"/>
              <a:gd name="connsiteX410" fmla="*/ 6880357 w 8377613"/>
              <a:gd name="connsiteY410" fmla="*/ 6011353 h 6854893"/>
              <a:gd name="connsiteX411" fmla="*/ 6217127 w 8377613"/>
              <a:gd name="connsiteY411" fmla="*/ 6184987 h 6854893"/>
              <a:gd name="connsiteX412" fmla="*/ 6213011 w 8377613"/>
              <a:gd name="connsiteY412" fmla="*/ 6180998 h 6854893"/>
              <a:gd name="connsiteX413" fmla="*/ 6369557 w 8377613"/>
              <a:gd name="connsiteY413" fmla="*/ 6448732 h 6854893"/>
              <a:gd name="connsiteX414" fmla="*/ 5710379 w 8377613"/>
              <a:gd name="connsiteY414" fmla="*/ 6444869 h 6854893"/>
              <a:gd name="connsiteX415" fmla="*/ 5710443 w 8377613"/>
              <a:gd name="connsiteY415" fmla="*/ 6444996 h 6854893"/>
              <a:gd name="connsiteX416" fmla="*/ 5707593 w 8377613"/>
              <a:gd name="connsiteY416" fmla="*/ 6440120 h 6854893"/>
              <a:gd name="connsiteX417" fmla="*/ 5786372 w 8377613"/>
              <a:gd name="connsiteY417" fmla="*/ 6733437 h 6854893"/>
              <a:gd name="connsiteX418" fmla="*/ 5175071 w 8377613"/>
              <a:gd name="connsiteY418" fmla="*/ 6562525 h 6854893"/>
              <a:gd name="connsiteX419" fmla="*/ 5173615 w 8377613"/>
              <a:gd name="connsiteY419" fmla="*/ 6557206 h 6854893"/>
              <a:gd name="connsiteX420" fmla="*/ 5173804 w 8377613"/>
              <a:gd name="connsiteY420" fmla="*/ 6839062 h 6854893"/>
              <a:gd name="connsiteX421" fmla="*/ 5173804 w 8377613"/>
              <a:gd name="connsiteY421" fmla="*/ 6854893 h 6854893"/>
              <a:gd name="connsiteX422" fmla="*/ 5147524 w 8377613"/>
              <a:gd name="connsiteY422" fmla="*/ 6839062 h 6854893"/>
              <a:gd name="connsiteX423" fmla="*/ 4648565 w 8377613"/>
              <a:gd name="connsiteY423" fmla="*/ 6537956 h 6854893"/>
              <a:gd name="connsiteX424" fmla="*/ 4648565 w 8377613"/>
              <a:gd name="connsiteY424" fmla="*/ 6532573 h 6854893"/>
              <a:gd name="connsiteX425" fmla="*/ 4574662 w 8377613"/>
              <a:gd name="connsiteY425" fmla="*/ 6814556 h 6854893"/>
              <a:gd name="connsiteX426" fmla="*/ 4165755 w 8377613"/>
              <a:gd name="connsiteY426" fmla="*/ 6381165 h 6854893"/>
              <a:gd name="connsiteX427" fmla="*/ 4167085 w 8377613"/>
              <a:gd name="connsiteY427" fmla="*/ 6376100 h 6854893"/>
              <a:gd name="connsiteX428" fmla="*/ 4028208 w 8377613"/>
              <a:gd name="connsiteY428" fmla="*/ 6624393 h 6854893"/>
              <a:gd name="connsiteX429" fmla="*/ 3756279 w 8377613"/>
              <a:gd name="connsiteY429" fmla="*/ 6110201 h 6854893"/>
              <a:gd name="connsiteX430" fmla="*/ 3758812 w 8377613"/>
              <a:gd name="connsiteY430" fmla="*/ 6105706 h 6854893"/>
              <a:gd name="connsiteX431" fmla="*/ 3568069 w 8377613"/>
              <a:gd name="connsiteY431" fmla="*/ 6305620 h 6854893"/>
              <a:gd name="connsiteX432" fmla="*/ 3443440 w 8377613"/>
              <a:gd name="connsiteY432" fmla="*/ 5749697 h 6854893"/>
              <a:gd name="connsiteX433" fmla="*/ 3446860 w 8377613"/>
              <a:gd name="connsiteY433" fmla="*/ 5746088 h 6854893"/>
              <a:gd name="connsiteX434" fmla="*/ 3219957 w 8377613"/>
              <a:gd name="connsiteY434" fmla="*/ 5886984 h 6854893"/>
              <a:gd name="connsiteX435" fmla="*/ 3242565 w 8377613"/>
              <a:gd name="connsiteY435" fmla="*/ 5328909 h 6854893"/>
              <a:gd name="connsiteX436" fmla="*/ 3246681 w 8377613"/>
              <a:gd name="connsiteY436" fmla="*/ 5326376 h 6854893"/>
              <a:gd name="connsiteX437" fmla="*/ 3000906 w 8377613"/>
              <a:gd name="connsiteY437" fmla="*/ 5402238 h 6854893"/>
              <a:gd name="connsiteX438" fmla="*/ 3160809 w 8377613"/>
              <a:gd name="connsiteY438" fmla="*/ 4879498 h 6854893"/>
              <a:gd name="connsiteX439" fmla="*/ 3165242 w 8377613"/>
              <a:gd name="connsiteY439" fmla="*/ 4878105 h 6854893"/>
              <a:gd name="connsiteX440" fmla="*/ 2918074 w 8377613"/>
              <a:gd name="connsiteY440" fmla="*/ 4887540 h 6854893"/>
              <a:gd name="connsiteX441" fmla="*/ 3196716 w 8377613"/>
              <a:gd name="connsiteY441" fmla="*/ 4433063 h 6854893"/>
              <a:gd name="connsiteX442" fmla="*/ 3201212 w 8377613"/>
              <a:gd name="connsiteY442" fmla="*/ 4432873 h 6854893"/>
              <a:gd name="connsiteX443" fmla="*/ 2969306 w 8377613"/>
              <a:gd name="connsiteY443" fmla="*/ 4379110 h 6854893"/>
              <a:gd name="connsiteX444" fmla="*/ 3341166 w 8377613"/>
              <a:gd name="connsiteY444" fmla="*/ 4019430 h 6854893"/>
              <a:gd name="connsiteX445" fmla="*/ 3345346 w 8377613"/>
              <a:gd name="connsiteY445" fmla="*/ 4020380 h 6854893"/>
              <a:gd name="connsiteX446" fmla="*/ 3143330 w 8377613"/>
              <a:gd name="connsiteY446" fmla="*/ 3910639 h 6854893"/>
              <a:gd name="connsiteX447" fmla="*/ 3578264 w 8377613"/>
              <a:gd name="connsiteY447" fmla="*/ 3664435 h 6854893"/>
              <a:gd name="connsiteX448" fmla="*/ 3581938 w 8377613"/>
              <a:gd name="connsiteY448" fmla="*/ 3666398 h 6854893"/>
              <a:gd name="connsiteX449" fmla="*/ 3421592 w 8377613"/>
              <a:gd name="connsiteY449" fmla="*/ 3511190 h 6854893"/>
              <a:gd name="connsiteX450" fmla="*/ 3886797 w 8377613"/>
              <a:gd name="connsiteY450" fmla="*/ 3388343 h 6854893"/>
              <a:gd name="connsiteX451" fmla="*/ 3889710 w 8377613"/>
              <a:gd name="connsiteY451" fmla="*/ 3391128 h 6854893"/>
              <a:gd name="connsiteX452" fmla="*/ 3779456 w 8377613"/>
              <a:gd name="connsiteY452" fmla="*/ 3203438 h 6854893"/>
              <a:gd name="connsiteX453" fmla="*/ 4242128 w 8377613"/>
              <a:gd name="connsiteY453" fmla="*/ 3205147 h 6854893"/>
              <a:gd name="connsiteX454" fmla="*/ 4244091 w 8377613"/>
              <a:gd name="connsiteY454" fmla="*/ 3208566 h 6854893"/>
              <a:gd name="connsiteX455" fmla="*/ 4188363 w 8377613"/>
              <a:gd name="connsiteY455" fmla="*/ 3002891 h 6854893"/>
              <a:gd name="connsiteX456" fmla="*/ 4617661 w 8377613"/>
              <a:gd name="connsiteY456" fmla="*/ 3121876 h 6854893"/>
              <a:gd name="connsiteX457" fmla="*/ 4618674 w 8377613"/>
              <a:gd name="connsiteY457" fmla="*/ 3125612 h 6854893"/>
              <a:gd name="connsiteX458" fmla="*/ 4618104 w 8377613"/>
              <a:gd name="connsiteY458" fmla="*/ 2916706 h 6854893"/>
              <a:gd name="connsiteX459" fmla="*/ 4813343 w 8377613"/>
              <a:gd name="connsiteY459" fmla="*/ 3033919 h 6854893"/>
              <a:gd name="connsiteX460" fmla="*/ 4847604 w 8377613"/>
              <a:gd name="connsiteY460" fmla="*/ 2905308 h 6854893"/>
              <a:gd name="connsiteX461" fmla="*/ 4611898 w 8377613"/>
              <a:gd name="connsiteY461" fmla="*/ 2744464 h 6854893"/>
              <a:gd name="connsiteX462" fmla="*/ 4610885 w 8377613"/>
              <a:gd name="connsiteY462" fmla="*/ 2505860 h 6854893"/>
              <a:gd name="connsiteX463" fmla="*/ 4889843 w 8377613"/>
              <a:gd name="connsiteY463" fmla="*/ 2696210 h 6854893"/>
              <a:gd name="connsiteX464" fmla="*/ 4931766 w 8377613"/>
              <a:gd name="connsiteY464" fmla="*/ 2538345 h 6854893"/>
              <a:gd name="connsiteX465" fmla="*/ 4604932 w 8377613"/>
              <a:gd name="connsiteY465" fmla="*/ 2290495 h 6854893"/>
              <a:gd name="connsiteX466" fmla="*/ 4603666 w 8377613"/>
              <a:gd name="connsiteY466" fmla="*/ 2095076 h 6854893"/>
              <a:gd name="connsiteX467" fmla="*/ 4974766 w 8377613"/>
              <a:gd name="connsiteY467" fmla="*/ 2376487 h 6854893"/>
              <a:gd name="connsiteX468" fmla="*/ 5049936 w 8377613"/>
              <a:gd name="connsiteY468" fmla="*/ 2093367 h 6854893"/>
              <a:gd name="connsiteX469" fmla="*/ 5506971 w 8377613"/>
              <a:gd name="connsiteY469" fmla="*/ 2518399 h 6854893"/>
              <a:gd name="connsiteX470" fmla="*/ 5594110 w 8377613"/>
              <a:gd name="connsiteY470" fmla="*/ 2363695 h 6854893"/>
              <a:gd name="connsiteX471" fmla="*/ 5104017 w 8377613"/>
              <a:gd name="connsiteY471" fmla="*/ 1841970 h 6854893"/>
              <a:gd name="connsiteX472" fmla="*/ 4589100 w 8377613"/>
              <a:gd name="connsiteY472" fmla="*/ 1273385 h 6854893"/>
              <a:gd name="connsiteX473" fmla="*/ 5014915 w 8377613"/>
              <a:gd name="connsiteY473" fmla="*/ 1654534 h 6854893"/>
              <a:gd name="connsiteX474" fmla="*/ 5016688 w 8377613"/>
              <a:gd name="connsiteY474" fmla="*/ 1763704 h 6854893"/>
              <a:gd name="connsiteX475" fmla="*/ 4590873 w 8377613"/>
              <a:gd name="connsiteY475" fmla="*/ 1382492 h 6854893"/>
              <a:gd name="connsiteX476" fmla="*/ 2443813 w 8377613"/>
              <a:gd name="connsiteY476" fmla="*/ 1009004 h 6854893"/>
              <a:gd name="connsiteX477" fmla="*/ 3111920 w 8377613"/>
              <a:gd name="connsiteY477" fmla="*/ 1180486 h 6854893"/>
              <a:gd name="connsiteX478" fmla="*/ 3126105 w 8377613"/>
              <a:gd name="connsiteY478" fmla="*/ 1199863 h 6854893"/>
              <a:gd name="connsiteX479" fmla="*/ 2457935 w 8377613"/>
              <a:gd name="connsiteY479" fmla="*/ 1028381 h 6854893"/>
              <a:gd name="connsiteX480" fmla="*/ 3609738 w 8377613"/>
              <a:gd name="connsiteY480" fmla="*/ 988739 h 6854893"/>
              <a:gd name="connsiteX481" fmla="*/ 4162841 w 8377613"/>
              <a:gd name="connsiteY481" fmla="*/ 1285159 h 6854893"/>
              <a:gd name="connsiteX482" fmla="*/ 4182283 w 8377613"/>
              <a:gd name="connsiteY482" fmla="*/ 1349686 h 6854893"/>
              <a:gd name="connsiteX483" fmla="*/ 3629180 w 8377613"/>
              <a:gd name="connsiteY483" fmla="*/ 1053203 h 6854893"/>
              <a:gd name="connsiteX484" fmla="*/ 7735787 w 8377613"/>
              <a:gd name="connsiteY484" fmla="*/ 894517 h 6854893"/>
              <a:gd name="connsiteX485" fmla="*/ 7843127 w 8377613"/>
              <a:gd name="connsiteY485" fmla="*/ 1833109 h 6854893"/>
              <a:gd name="connsiteX486" fmla="*/ 7589247 w 8377613"/>
              <a:gd name="connsiteY486" fmla="*/ 2100019 h 6854893"/>
              <a:gd name="connsiteX487" fmla="*/ 7481906 w 8377613"/>
              <a:gd name="connsiteY487" fmla="*/ 1161429 h 6854893"/>
              <a:gd name="connsiteX488" fmla="*/ 6405780 w 8377613"/>
              <a:gd name="connsiteY488" fmla="*/ 872226 h 6854893"/>
              <a:gd name="connsiteX489" fmla="*/ 6776563 w 8377613"/>
              <a:gd name="connsiteY489" fmla="*/ 1686955 h 6854893"/>
              <a:gd name="connsiteX490" fmla="*/ 6550420 w 8377613"/>
              <a:gd name="connsiteY490" fmla="*/ 2090899 h 6854893"/>
              <a:gd name="connsiteX491" fmla="*/ 6179637 w 8377613"/>
              <a:gd name="connsiteY491" fmla="*/ 1276171 h 6854893"/>
              <a:gd name="connsiteX492" fmla="*/ 4581944 w 8377613"/>
              <a:gd name="connsiteY492" fmla="*/ 862537 h 6854893"/>
              <a:gd name="connsiteX493" fmla="*/ 5021881 w 8377613"/>
              <a:gd name="connsiteY493" fmla="*/ 1283580 h 6854893"/>
              <a:gd name="connsiteX494" fmla="*/ 5023844 w 8377613"/>
              <a:gd name="connsiteY494" fmla="*/ 1349627 h 6854893"/>
              <a:gd name="connsiteX495" fmla="*/ 4583907 w 8377613"/>
              <a:gd name="connsiteY495" fmla="*/ 928521 h 6854893"/>
              <a:gd name="connsiteX496" fmla="*/ 3494038 w 8377613"/>
              <a:gd name="connsiteY496" fmla="*/ 585871 h 6854893"/>
              <a:gd name="connsiteX497" fmla="*/ 4071903 w 8377613"/>
              <a:gd name="connsiteY497" fmla="*/ 917816 h 6854893"/>
              <a:gd name="connsiteX498" fmla="*/ 4080199 w 8377613"/>
              <a:gd name="connsiteY498" fmla="*/ 939726 h 6854893"/>
              <a:gd name="connsiteX499" fmla="*/ 3502334 w 8377613"/>
              <a:gd name="connsiteY499" fmla="*/ 607844 h 6854893"/>
              <a:gd name="connsiteX500" fmla="*/ 5444466 w 8377613"/>
              <a:gd name="connsiteY500" fmla="*/ 507352 h 6854893"/>
              <a:gd name="connsiteX501" fmla="*/ 6032020 w 8377613"/>
              <a:gd name="connsiteY501" fmla="*/ 1210314 h 6854893"/>
              <a:gd name="connsiteX502" fmla="*/ 5911444 w 8377613"/>
              <a:gd name="connsiteY502" fmla="*/ 1669160 h 6854893"/>
              <a:gd name="connsiteX503" fmla="*/ 5323890 w 8377613"/>
              <a:gd name="connsiteY503" fmla="*/ 966198 h 6854893"/>
              <a:gd name="connsiteX504" fmla="*/ 4574725 w 8377613"/>
              <a:gd name="connsiteY504" fmla="*/ 451691 h 6854893"/>
              <a:gd name="connsiteX505" fmla="*/ 5028847 w 8377613"/>
              <a:gd name="connsiteY505" fmla="*/ 912627 h 6854893"/>
              <a:gd name="connsiteX506" fmla="*/ 5031064 w 8377613"/>
              <a:gd name="connsiteY506" fmla="*/ 935486 h 6854893"/>
              <a:gd name="connsiteX507" fmla="*/ 4577005 w 8377613"/>
              <a:gd name="connsiteY507" fmla="*/ 474551 h 6854893"/>
              <a:gd name="connsiteX508" fmla="*/ 8263686 w 8377613"/>
              <a:gd name="connsiteY508" fmla="*/ 327323 h 6854893"/>
              <a:gd name="connsiteX509" fmla="*/ 8336766 w 8377613"/>
              <a:gd name="connsiteY509" fmla="*/ 1338990 h 6854893"/>
              <a:gd name="connsiteX510" fmla="*/ 8139627 w 8377613"/>
              <a:gd name="connsiteY510" fmla="*/ 1547706 h 6854893"/>
              <a:gd name="connsiteX511" fmla="*/ 8066484 w 8377613"/>
              <a:gd name="connsiteY511" fmla="*/ 536039 h 6854893"/>
              <a:gd name="connsiteX512" fmla="*/ 6786379 w 8377613"/>
              <a:gd name="connsiteY512" fmla="*/ 171355 h 6854893"/>
              <a:gd name="connsiteX513" fmla="*/ 7142027 w 8377613"/>
              <a:gd name="connsiteY513" fmla="*/ 1067265 h 6854893"/>
              <a:gd name="connsiteX514" fmla="*/ 6957427 w 8377613"/>
              <a:gd name="connsiteY514" fmla="*/ 1398577 h 6854893"/>
              <a:gd name="connsiteX515" fmla="*/ 6601779 w 8377613"/>
              <a:gd name="connsiteY515" fmla="*/ 502667 h 6854893"/>
              <a:gd name="connsiteX516" fmla="*/ 7767324 w 8377613"/>
              <a:gd name="connsiteY516" fmla="*/ 2 h 6854893"/>
              <a:gd name="connsiteX517" fmla="*/ 7779166 w 8377613"/>
              <a:gd name="connsiteY517" fmla="*/ 2 h 6854893"/>
              <a:gd name="connsiteX518" fmla="*/ 7771566 w 8377613"/>
              <a:gd name="connsiteY518" fmla="*/ 13870 h 6854893"/>
              <a:gd name="connsiteX519" fmla="*/ 7118406 w 8377613"/>
              <a:gd name="connsiteY519" fmla="*/ 2 h 6854893"/>
              <a:gd name="connsiteX520" fmla="*/ 7351578 w 8377613"/>
              <a:gd name="connsiteY520" fmla="*/ 2 h 6854893"/>
              <a:gd name="connsiteX521" fmla="*/ 7507491 w 8377613"/>
              <a:gd name="connsiteY521" fmla="*/ 447513 h 6854893"/>
              <a:gd name="connsiteX522" fmla="*/ 7364497 w 8377613"/>
              <a:gd name="connsiteY522" fmla="*/ 706191 h 6854893"/>
              <a:gd name="connsiteX523" fmla="*/ 6304645 w 8377613"/>
              <a:gd name="connsiteY523" fmla="*/ 1 h 6854893"/>
              <a:gd name="connsiteX524" fmla="*/ 6385768 w 8377613"/>
              <a:gd name="connsiteY524" fmla="*/ 1 h 6854893"/>
              <a:gd name="connsiteX525" fmla="*/ 6363730 w 8377613"/>
              <a:gd name="connsiteY525" fmla="*/ 85742 h 6854893"/>
              <a:gd name="connsiteX526" fmla="*/ 5567385 w 8377613"/>
              <a:gd name="connsiteY526" fmla="*/ 0 h 6854893"/>
              <a:gd name="connsiteX527" fmla="*/ 5857299 w 8377613"/>
              <a:gd name="connsiteY527" fmla="*/ 0 h 6854893"/>
              <a:gd name="connsiteX528" fmla="*/ 6235555 w 8377613"/>
              <a:gd name="connsiteY528" fmla="*/ 501337 h 6854893"/>
              <a:gd name="connsiteX529" fmla="*/ 6137587 w 8377613"/>
              <a:gd name="connsiteY529" fmla="*/ 877482 h 6854893"/>
              <a:gd name="connsiteX530" fmla="*/ 5543827 w 8377613"/>
              <a:gd name="connsiteY530" fmla="*/ 90490 h 6854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</a:cxnLst>
            <a:rect l="l" t="t" r="r" b="b"/>
            <a:pathLst>
              <a:path w="8377613" h="6854893">
                <a:moveTo>
                  <a:pt x="820536" y="6758957"/>
                </a:moveTo>
                <a:lnTo>
                  <a:pt x="797675" y="6838999"/>
                </a:lnTo>
                <a:lnTo>
                  <a:pt x="779183" y="6838999"/>
                </a:lnTo>
                <a:lnTo>
                  <a:pt x="796978" y="6776815"/>
                </a:lnTo>
                <a:close/>
                <a:moveTo>
                  <a:pt x="5213067" y="6751421"/>
                </a:moveTo>
                <a:lnTo>
                  <a:pt x="5468657" y="6838998"/>
                </a:lnTo>
                <a:lnTo>
                  <a:pt x="5236688" y="6838998"/>
                </a:lnTo>
                <a:close/>
                <a:moveTo>
                  <a:pt x="3374160" y="6748192"/>
                </a:moveTo>
                <a:lnTo>
                  <a:pt x="3410446" y="6838999"/>
                </a:lnTo>
                <a:lnTo>
                  <a:pt x="3323814" y="6838999"/>
                </a:lnTo>
                <a:close/>
                <a:moveTo>
                  <a:pt x="4636849" y="6726535"/>
                </a:moveTo>
                <a:lnTo>
                  <a:pt x="4800931" y="6838999"/>
                </a:lnTo>
                <a:lnTo>
                  <a:pt x="4637102" y="6838999"/>
                </a:lnTo>
                <a:close/>
                <a:moveTo>
                  <a:pt x="7576834" y="6663020"/>
                </a:moveTo>
                <a:lnTo>
                  <a:pt x="7759218" y="6838998"/>
                </a:lnTo>
                <a:lnTo>
                  <a:pt x="6852176" y="6838998"/>
                </a:lnTo>
                <a:lnTo>
                  <a:pt x="6794358" y="6783209"/>
                </a:lnTo>
                <a:close/>
                <a:moveTo>
                  <a:pt x="2544314" y="6645290"/>
                </a:moveTo>
                <a:lnTo>
                  <a:pt x="2558689" y="6838998"/>
                </a:lnTo>
                <a:lnTo>
                  <a:pt x="2409679" y="6838998"/>
                </a:lnTo>
                <a:lnTo>
                  <a:pt x="2406196" y="6792011"/>
                </a:lnTo>
                <a:close/>
                <a:moveTo>
                  <a:pt x="5798468" y="6620847"/>
                </a:moveTo>
                <a:lnTo>
                  <a:pt x="6506345" y="6665110"/>
                </a:lnTo>
                <a:lnTo>
                  <a:pt x="6608429" y="6838998"/>
                </a:lnTo>
                <a:lnTo>
                  <a:pt x="5926453" y="6838998"/>
                </a:lnTo>
                <a:close/>
                <a:moveTo>
                  <a:pt x="4107873" y="6556763"/>
                </a:moveTo>
                <a:lnTo>
                  <a:pt x="4344909" y="6838998"/>
                </a:lnTo>
                <a:lnTo>
                  <a:pt x="4034350" y="6838998"/>
                </a:lnTo>
                <a:close/>
                <a:moveTo>
                  <a:pt x="1275228" y="6488942"/>
                </a:moveTo>
                <a:lnTo>
                  <a:pt x="1185429" y="6838998"/>
                </a:lnTo>
                <a:lnTo>
                  <a:pt x="1126788" y="6838998"/>
                </a:lnTo>
                <a:lnTo>
                  <a:pt x="1204618" y="6535485"/>
                </a:lnTo>
                <a:close/>
                <a:moveTo>
                  <a:pt x="8377613" y="6386674"/>
                </a:moveTo>
                <a:lnTo>
                  <a:pt x="8377613" y="6581333"/>
                </a:lnTo>
                <a:lnTo>
                  <a:pt x="8168758" y="6662387"/>
                </a:lnTo>
                <a:lnTo>
                  <a:pt x="7958194" y="6549480"/>
                </a:lnTo>
                <a:close/>
                <a:moveTo>
                  <a:pt x="3658881" y="6261736"/>
                </a:moveTo>
                <a:lnTo>
                  <a:pt x="3920297" y="6832919"/>
                </a:lnTo>
                <a:lnTo>
                  <a:pt x="3916877" y="6838998"/>
                </a:lnTo>
                <a:lnTo>
                  <a:pt x="3635006" y="6838998"/>
                </a:lnTo>
                <a:lnTo>
                  <a:pt x="3500688" y="6545491"/>
                </a:lnTo>
                <a:close/>
                <a:moveTo>
                  <a:pt x="2929726" y="6256860"/>
                </a:moveTo>
                <a:lnTo>
                  <a:pt x="2997550" y="6838998"/>
                </a:lnTo>
                <a:lnTo>
                  <a:pt x="2797878" y="6838998"/>
                </a:lnTo>
                <a:lnTo>
                  <a:pt x="2751965" y="6444553"/>
                </a:lnTo>
                <a:close/>
                <a:moveTo>
                  <a:pt x="1729921" y="6218929"/>
                </a:moveTo>
                <a:lnTo>
                  <a:pt x="1591423" y="6838999"/>
                </a:lnTo>
                <a:lnTo>
                  <a:pt x="1490479" y="6838999"/>
                </a:lnTo>
                <a:lnTo>
                  <a:pt x="1612195" y="6294158"/>
                </a:lnTo>
                <a:close/>
                <a:moveTo>
                  <a:pt x="7074899" y="6187710"/>
                </a:moveTo>
                <a:lnTo>
                  <a:pt x="7335619" y="6440500"/>
                </a:lnTo>
                <a:lnTo>
                  <a:pt x="6612797" y="6587348"/>
                </a:lnTo>
                <a:lnTo>
                  <a:pt x="6352014" y="6334622"/>
                </a:lnTo>
                <a:close/>
                <a:moveTo>
                  <a:pt x="5164749" y="6063342"/>
                </a:moveTo>
                <a:lnTo>
                  <a:pt x="5164749" y="6193726"/>
                </a:lnTo>
                <a:lnTo>
                  <a:pt x="5641416" y="6327023"/>
                </a:lnTo>
                <a:lnTo>
                  <a:pt x="5532049" y="6140027"/>
                </a:lnTo>
                <a:close/>
                <a:moveTo>
                  <a:pt x="4763251" y="6062708"/>
                </a:moveTo>
                <a:lnTo>
                  <a:pt x="4730701" y="6186190"/>
                </a:lnTo>
                <a:lnTo>
                  <a:pt x="4730764" y="6186190"/>
                </a:lnTo>
                <a:lnTo>
                  <a:pt x="5140304" y="6433344"/>
                </a:lnTo>
                <a:lnTo>
                  <a:pt x="5085272" y="6228491"/>
                </a:lnTo>
                <a:close/>
                <a:moveTo>
                  <a:pt x="4390441" y="5960250"/>
                </a:moveTo>
                <a:lnTo>
                  <a:pt x="4329520" y="6068914"/>
                </a:lnTo>
                <a:lnTo>
                  <a:pt x="4329520" y="6068978"/>
                </a:lnTo>
                <a:lnTo>
                  <a:pt x="4648375" y="6406938"/>
                </a:lnTo>
                <a:lnTo>
                  <a:pt x="4648248" y="6198982"/>
                </a:lnTo>
                <a:close/>
                <a:moveTo>
                  <a:pt x="2184613" y="5948851"/>
                </a:moveTo>
                <a:lnTo>
                  <a:pt x="2056944" y="6634397"/>
                </a:lnTo>
                <a:lnTo>
                  <a:pt x="1892166" y="6738376"/>
                </a:lnTo>
                <a:lnTo>
                  <a:pt x="2019835" y="6052829"/>
                </a:lnTo>
                <a:close/>
                <a:moveTo>
                  <a:pt x="5957547" y="5932577"/>
                </a:moveTo>
                <a:lnTo>
                  <a:pt x="5957484" y="5932641"/>
                </a:lnTo>
                <a:lnTo>
                  <a:pt x="5568335" y="5955944"/>
                </a:lnTo>
                <a:lnTo>
                  <a:pt x="5602722" y="6084429"/>
                </a:lnTo>
                <a:lnTo>
                  <a:pt x="6116753" y="6087405"/>
                </a:lnTo>
                <a:close/>
                <a:moveTo>
                  <a:pt x="8149696" y="5897559"/>
                </a:moveTo>
                <a:lnTo>
                  <a:pt x="8377612" y="6020851"/>
                </a:lnTo>
                <a:lnTo>
                  <a:pt x="8377612" y="6061632"/>
                </a:lnTo>
                <a:lnTo>
                  <a:pt x="7665050" y="6372426"/>
                </a:lnTo>
                <a:lnTo>
                  <a:pt x="7395401" y="6226591"/>
                </a:lnTo>
                <a:close/>
                <a:moveTo>
                  <a:pt x="3315201" y="5868430"/>
                </a:moveTo>
                <a:lnTo>
                  <a:pt x="3415893" y="6475645"/>
                </a:lnTo>
                <a:lnTo>
                  <a:pt x="3198362" y="6704308"/>
                </a:lnTo>
                <a:lnTo>
                  <a:pt x="3097671" y="6097094"/>
                </a:lnTo>
                <a:close/>
                <a:moveTo>
                  <a:pt x="4069814" y="5768568"/>
                </a:moveTo>
                <a:lnTo>
                  <a:pt x="3986158" y="5856019"/>
                </a:lnTo>
                <a:lnTo>
                  <a:pt x="4198179" y="6256987"/>
                </a:lnTo>
                <a:lnTo>
                  <a:pt x="4249854" y="6060049"/>
                </a:lnTo>
                <a:close/>
                <a:moveTo>
                  <a:pt x="2639306" y="5678837"/>
                </a:moveTo>
                <a:lnTo>
                  <a:pt x="2546657" y="6321894"/>
                </a:lnTo>
                <a:lnTo>
                  <a:pt x="2334763" y="6454494"/>
                </a:lnTo>
                <a:lnTo>
                  <a:pt x="2427411" y="5811438"/>
                </a:lnTo>
                <a:close/>
                <a:moveTo>
                  <a:pt x="555320" y="5619123"/>
                </a:moveTo>
                <a:lnTo>
                  <a:pt x="136977" y="6330063"/>
                </a:lnTo>
                <a:lnTo>
                  <a:pt x="110634" y="6341018"/>
                </a:lnTo>
                <a:lnTo>
                  <a:pt x="529039" y="5630078"/>
                </a:lnTo>
                <a:close/>
                <a:moveTo>
                  <a:pt x="6330040" y="5613741"/>
                </a:moveTo>
                <a:lnTo>
                  <a:pt x="5945262" y="5741465"/>
                </a:lnTo>
                <a:lnTo>
                  <a:pt x="6013710" y="5858790"/>
                </a:lnTo>
                <a:lnTo>
                  <a:pt x="6013655" y="5858805"/>
                </a:lnTo>
                <a:lnTo>
                  <a:pt x="6013719" y="5858805"/>
                </a:lnTo>
                <a:lnTo>
                  <a:pt x="6013710" y="5858790"/>
                </a:lnTo>
                <a:lnTo>
                  <a:pt x="6530852" y="5723418"/>
                </a:lnTo>
                <a:close/>
                <a:moveTo>
                  <a:pt x="7519966" y="5564348"/>
                </a:moveTo>
                <a:lnTo>
                  <a:pt x="7848636" y="5743175"/>
                </a:lnTo>
                <a:lnTo>
                  <a:pt x="7161278" y="6082466"/>
                </a:lnTo>
                <a:lnTo>
                  <a:pt x="6832608" y="5903702"/>
                </a:lnTo>
                <a:close/>
                <a:moveTo>
                  <a:pt x="3819669" y="5505710"/>
                </a:moveTo>
                <a:lnTo>
                  <a:pt x="3720182" y="5567324"/>
                </a:lnTo>
                <a:lnTo>
                  <a:pt x="3817326" y="6000841"/>
                </a:lnTo>
                <a:lnTo>
                  <a:pt x="3817390" y="6000778"/>
                </a:lnTo>
                <a:lnTo>
                  <a:pt x="3914344" y="5827396"/>
                </a:lnTo>
                <a:close/>
                <a:moveTo>
                  <a:pt x="1044842" y="5478797"/>
                </a:moveTo>
                <a:lnTo>
                  <a:pt x="669499" y="6158328"/>
                </a:lnTo>
                <a:lnTo>
                  <a:pt x="592303" y="6184481"/>
                </a:lnTo>
                <a:lnTo>
                  <a:pt x="967646" y="5504950"/>
                </a:lnTo>
                <a:close/>
                <a:moveTo>
                  <a:pt x="3093935" y="5408824"/>
                </a:moveTo>
                <a:lnTo>
                  <a:pt x="3036307" y="6009390"/>
                </a:lnTo>
                <a:lnTo>
                  <a:pt x="2777360" y="6170676"/>
                </a:lnTo>
                <a:lnTo>
                  <a:pt x="2834988" y="5570110"/>
                </a:lnTo>
                <a:close/>
                <a:moveTo>
                  <a:pt x="1534301" y="5338470"/>
                </a:moveTo>
                <a:lnTo>
                  <a:pt x="1202084" y="5986656"/>
                </a:lnTo>
                <a:lnTo>
                  <a:pt x="1074036" y="6028006"/>
                </a:lnTo>
                <a:lnTo>
                  <a:pt x="1406253" y="5379821"/>
                </a:lnTo>
                <a:close/>
                <a:moveTo>
                  <a:pt x="6620271" y="5199221"/>
                </a:moveTo>
                <a:lnTo>
                  <a:pt x="6267409" y="5428644"/>
                </a:lnTo>
                <a:lnTo>
                  <a:pt x="6367150" y="5525847"/>
                </a:lnTo>
                <a:lnTo>
                  <a:pt x="6850973" y="5253236"/>
                </a:lnTo>
                <a:close/>
                <a:moveTo>
                  <a:pt x="2023823" y="5198081"/>
                </a:moveTo>
                <a:lnTo>
                  <a:pt x="1734670" y="5814921"/>
                </a:lnTo>
                <a:lnTo>
                  <a:pt x="1555769" y="5871533"/>
                </a:lnTo>
                <a:lnTo>
                  <a:pt x="1844923" y="5254693"/>
                </a:lnTo>
                <a:close/>
                <a:moveTo>
                  <a:pt x="3652738" y="5193332"/>
                </a:moveTo>
                <a:lnTo>
                  <a:pt x="3545017" y="5226450"/>
                </a:lnTo>
                <a:lnTo>
                  <a:pt x="3527349" y="5661614"/>
                </a:lnTo>
                <a:lnTo>
                  <a:pt x="3660590" y="5521984"/>
                </a:lnTo>
                <a:close/>
                <a:moveTo>
                  <a:pt x="8377612" y="5103475"/>
                </a:moveTo>
                <a:lnTo>
                  <a:pt x="8377612" y="5417753"/>
                </a:lnTo>
                <a:lnTo>
                  <a:pt x="8161538" y="5587524"/>
                </a:lnTo>
                <a:lnTo>
                  <a:pt x="7852183" y="5516348"/>
                </a:lnTo>
                <a:close/>
                <a:moveTo>
                  <a:pt x="2513347" y="5057755"/>
                </a:moveTo>
                <a:lnTo>
                  <a:pt x="2267256" y="5643249"/>
                </a:lnTo>
                <a:lnTo>
                  <a:pt x="2037503" y="5715059"/>
                </a:lnTo>
                <a:lnTo>
                  <a:pt x="2283531" y="5129628"/>
                </a:lnTo>
                <a:close/>
                <a:moveTo>
                  <a:pt x="3002806" y="4917428"/>
                </a:moveTo>
                <a:lnTo>
                  <a:pt x="2799841" y="5471514"/>
                </a:lnTo>
                <a:lnTo>
                  <a:pt x="2519173" y="5558585"/>
                </a:lnTo>
                <a:lnTo>
                  <a:pt x="2722201" y="5004499"/>
                </a:lnTo>
                <a:close/>
                <a:moveTo>
                  <a:pt x="3575415" y="4855118"/>
                </a:moveTo>
                <a:lnTo>
                  <a:pt x="3467125" y="4859170"/>
                </a:lnTo>
                <a:lnTo>
                  <a:pt x="3342432" y="5266788"/>
                </a:lnTo>
                <a:lnTo>
                  <a:pt x="3500942" y="5168382"/>
                </a:lnTo>
                <a:close/>
                <a:moveTo>
                  <a:pt x="7802471" y="4830421"/>
                </a:moveTo>
                <a:lnTo>
                  <a:pt x="8179904" y="4918125"/>
                </a:lnTo>
                <a:lnTo>
                  <a:pt x="7578988" y="5437446"/>
                </a:lnTo>
                <a:lnTo>
                  <a:pt x="7201618" y="5349679"/>
                </a:lnTo>
                <a:close/>
                <a:moveTo>
                  <a:pt x="7048366" y="4703900"/>
                </a:moveTo>
                <a:lnTo>
                  <a:pt x="6802338" y="4712765"/>
                </a:lnTo>
                <a:lnTo>
                  <a:pt x="6802401" y="4712828"/>
                </a:lnTo>
                <a:lnTo>
                  <a:pt x="6508498" y="5033818"/>
                </a:lnTo>
                <a:lnTo>
                  <a:pt x="6634330" y="5102715"/>
                </a:lnTo>
                <a:close/>
                <a:moveTo>
                  <a:pt x="3486250" y="4491637"/>
                </a:moveTo>
                <a:lnTo>
                  <a:pt x="3268972" y="4845999"/>
                </a:lnTo>
                <a:lnTo>
                  <a:pt x="3269036" y="4846063"/>
                </a:lnTo>
                <a:lnTo>
                  <a:pt x="3440717" y="4793060"/>
                </a:lnTo>
                <a:lnTo>
                  <a:pt x="3587827" y="4515321"/>
                </a:lnTo>
                <a:close/>
                <a:moveTo>
                  <a:pt x="592683" y="4472450"/>
                </a:moveTo>
                <a:lnTo>
                  <a:pt x="27168" y="5039517"/>
                </a:lnTo>
                <a:lnTo>
                  <a:pt x="0" y="5043190"/>
                </a:lnTo>
                <a:lnTo>
                  <a:pt x="565516" y="4476123"/>
                </a:lnTo>
                <a:close/>
                <a:moveTo>
                  <a:pt x="1082269" y="4463774"/>
                </a:moveTo>
                <a:lnTo>
                  <a:pt x="564566" y="5012034"/>
                </a:lnTo>
                <a:lnTo>
                  <a:pt x="486356" y="5017227"/>
                </a:lnTo>
                <a:lnTo>
                  <a:pt x="1004059" y="4468967"/>
                </a:lnTo>
                <a:close/>
                <a:moveTo>
                  <a:pt x="1571791" y="4455036"/>
                </a:moveTo>
                <a:lnTo>
                  <a:pt x="1101900" y="4984552"/>
                </a:lnTo>
                <a:lnTo>
                  <a:pt x="972712" y="4991264"/>
                </a:lnTo>
                <a:lnTo>
                  <a:pt x="1442603" y="4461748"/>
                </a:lnTo>
                <a:close/>
                <a:moveTo>
                  <a:pt x="2061377" y="4446360"/>
                </a:moveTo>
                <a:lnTo>
                  <a:pt x="1639298" y="4957132"/>
                </a:lnTo>
                <a:lnTo>
                  <a:pt x="1459068" y="4965301"/>
                </a:lnTo>
                <a:lnTo>
                  <a:pt x="1881083" y="4454592"/>
                </a:lnTo>
                <a:close/>
                <a:moveTo>
                  <a:pt x="2550900" y="4437685"/>
                </a:moveTo>
                <a:lnTo>
                  <a:pt x="2176633" y="4929650"/>
                </a:lnTo>
                <a:lnTo>
                  <a:pt x="1945361" y="4939402"/>
                </a:lnTo>
                <a:lnTo>
                  <a:pt x="2319627" y="4447374"/>
                </a:lnTo>
                <a:close/>
                <a:moveTo>
                  <a:pt x="3040486" y="4428946"/>
                </a:moveTo>
                <a:lnTo>
                  <a:pt x="2714032" y="4902167"/>
                </a:lnTo>
                <a:lnTo>
                  <a:pt x="2431717" y="4913439"/>
                </a:lnTo>
                <a:lnTo>
                  <a:pt x="2758171" y="4440218"/>
                </a:lnTo>
                <a:close/>
                <a:moveTo>
                  <a:pt x="8377612" y="4361190"/>
                </a:moveTo>
                <a:lnTo>
                  <a:pt x="8377612" y="4683509"/>
                </a:lnTo>
                <a:lnTo>
                  <a:pt x="8123605" y="4693705"/>
                </a:lnTo>
                <a:close/>
                <a:moveTo>
                  <a:pt x="3595426" y="4148357"/>
                </a:moveTo>
                <a:lnTo>
                  <a:pt x="3305449" y="4428820"/>
                </a:lnTo>
                <a:lnTo>
                  <a:pt x="3478080" y="4422234"/>
                </a:lnTo>
                <a:lnTo>
                  <a:pt x="3683832" y="4196547"/>
                </a:lnTo>
                <a:close/>
                <a:moveTo>
                  <a:pt x="7101561" y="4109603"/>
                </a:moveTo>
                <a:lnTo>
                  <a:pt x="7101546" y="4109627"/>
                </a:lnTo>
                <a:lnTo>
                  <a:pt x="6856800" y="4184579"/>
                </a:lnTo>
                <a:lnTo>
                  <a:pt x="6646299" y="4579911"/>
                </a:lnTo>
                <a:lnTo>
                  <a:pt x="6790939" y="4613916"/>
                </a:lnTo>
                <a:lnTo>
                  <a:pt x="7101546" y="4109627"/>
                </a:lnTo>
                <a:lnTo>
                  <a:pt x="7101624" y="4109603"/>
                </a:lnTo>
                <a:close/>
                <a:moveTo>
                  <a:pt x="8294843" y="4016073"/>
                </a:moveTo>
                <a:lnTo>
                  <a:pt x="7828309" y="4689461"/>
                </a:lnTo>
                <a:lnTo>
                  <a:pt x="7425988" y="4704596"/>
                </a:lnTo>
                <a:lnTo>
                  <a:pt x="7892523" y="4031207"/>
                </a:lnTo>
                <a:close/>
                <a:moveTo>
                  <a:pt x="2932006" y="3914945"/>
                </a:moveTo>
                <a:lnTo>
                  <a:pt x="3197032" y="3975926"/>
                </a:lnTo>
                <a:lnTo>
                  <a:pt x="2776030" y="4341243"/>
                </a:lnTo>
                <a:lnTo>
                  <a:pt x="2511067" y="4280262"/>
                </a:lnTo>
                <a:close/>
                <a:moveTo>
                  <a:pt x="3782306" y="3851051"/>
                </a:moveTo>
                <a:lnTo>
                  <a:pt x="3782306" y="3851114"/>
                </a:lnTo>
                <a:lnTo>
                  <a:pt x="3443123" y="4043113"/>
                </a:lnTo>
                <a:lnTo>
                  <a:pt x="3605116" y="4080664"/>
                </a:lnTo>
                <a:lnTo>
                  <a:pt x="3852410" y="3919124"/>
                </a:lnTo>
                <a:close/>
                <a:moveTo>
                  <a:pt x="2522973" y="3810460"/>
                </a:moveTo>
                <a:lnTo>
                  <a:pt x="2740187" y="3859979"/>
                </a:lnTo>
                <a:lnTo>
                  <a:pt x="2270106" y="4230869"/>
                </a:lnTo>
                <a:lnTo>
                  <a:pt x="2052892" y="4181413"/>
                </a:lnTo>
                <a:close/>
                <a:moveTo>
                  <a:pt x="2113876" y="3706038"/>
                </a:moveTo>
                <a:lnTo>
                  <a:pt x="2283277" y="3743969"/>
                </a:lnTo>
                <a:lnTo>
                  <a:pt x="1764181" y="4120558"/>
                </a:lnTo>
                <a:lnTo>
                  <a:pt x="1594716" y="4082626"/>
                </a:lnTo>
                <a:close/>
                <a:moveTo>
                  <a:pt x="4029854" y="3616815"/>
                </a:moveTo>
                <a:lnTo>
                  <a:pt x="3667050" y="3712624"/>
                </a:lnTo>
                <a:lnTo>
                  <a:pt x="3808144" y="3789310"/>
                </a:lnTo>
                <a:lnTo>
                  <a:pt x="4078046" y="3699136"/>
                </a:lnTo>
                <a:lnTo>
                  <a:pt x="4029854" y="3616878"/>
                </a:lnTo>
                <a:close/>
                <a:moveTo>
                  <a:pt x="1704780" y="3601554"/>
                </a:moveTo>
                <a:lnTo>
                  <a:pt x="1826432" y="3628023"/>
                </a:lnTo>
                <a:lnTo>
                  <a:pt x="1258257" y="4010248"/>
                </a:lnTo>
                <a:lnTo>
                  <a:pt x="1136541" y="3983778"/>
                </a:lnTo>
                <a:close/>
                <a:moveTo>
                  <a:pt x="6998147" y="3509607"/>
                </a:moveTo>
                <a:lnTo>
                  <a:pt x="6772004" y="3649363"/>
                </a:lnTo>
                <a:lnTo>
                  <a:pt x="6664917" y="4095545"/>
                </a:lnTo>
                <a:lnTo>
                  <a:pt x="6819183" y="4090162"/>
                </a:lnTo>
                <a:lnTo>
                  <a:pt x="6998084" y="3509671"/>
                </a:lnTo>
                <a:close/>
                <a:moveTo>
                  <a:pt x="1295683" y="3497132"/>
                </a:moveTo>
                <a:lnTo>
                  <a:pt x="1369586" y="3512013"/>
                </a:lnTo>
                <a:lnTo>
                  <a:pt x="752268" y="3899873"/>
                </a:lnTo>
                <a:lnTo>
                  <a:pt x="678365" y="3884992"/>
                </a:lnTo>
                <a:close/>
                <a:moveTo>
                  <a:pt x="3224262" y="3461671"/>
                </a:moveTo>
                <a:lnTo>
                  <a:pt x="3455155" y="3586610"/>
                </a:lnTo>
                <a:lnTo>
                  <a:pt x="2973295" y="3825785"/>
                </a:lnTo>
                <a:lnTo>
                  <a:pt x="2742339" y="3700783"/>
                </a:lnTo>
                <a:close/>
                <a:moveTo>
                  <a:pt x="3957344" y="3456542"/>
                </a:moveTo>
                <a:lnTo>
                  <a:pt x="4069307" y="3564952"/>
                </a:lnTo>
                <a:lnTo>
                  <a:pt x="4342376" y="3548045"/>
                </a:lnTo>
                <a:lnTo>
                  <a:pt x="4318058" y="3457935"/>
                </a:lnTo>
                <a:lnTo>
                  <a:pt x="4318121" y="3457871"/>
                </a:lnTo>
                <a:close/>
                <a:moveTo>
                  <a:pt x="886586" y="3392648"/>
                </a:moveTo>
                <a:lnTo>
                  <a:pt x="912741" y="3396068"/>
                </a:lnTo>
                <a:lnTo>
                  <a:pt x="246345" y="3789563"/>
                </a:lnTo>
                <a:lnTo>
                  <a:pt x="220255" y="3786144"/>
                </a:lnTo>
                <a:close/>
                <a:moveTo>
                  <a:pt x="8377612" y="3340344"/>
                </a:moveTo>
                <a:lnTo>
                  <a:pt x="8377612" y="3748466"/>
                </a:lnTo>
                <a:lnTo>
                  <a:pt x="8179017" y="3810080"/>
                </a:lnTo>
                <a:close/>
                <a:moveTo>
                  <a:pt x="4290511" y="3287721"/>
                </a:moveTo>
                <a:lnTo>
                  <a:pt x="4367517" y="3418801"/>
                </a:lnTo>
                <a:lnTo>
                  <a:pt x="4625387" y="3472056"/>
                </a:lnTo>
                <a:lnTo>
                  <a:pt x="4625260" y="3380553"/>
                </a:lnTo>
                <a:close/>
                <a:moveTo>
                  <a:pt x="2870261" y="3258911"/>
                </a:moveTo>
                <a:lnTo>
                  <a:pt x="3059737" y="3360923"/>
                </a:lnTo>
                <a:lnTo>
                  <a:pt x="2530825" y="3592878"/>
                </a:lnTo>
                <a:lnTo>
                  <a:pt x="2341412" y="3490927"/>
                </a:lnTo>
                <a:close/>
                <a:moveTo>
                  <a:pt x="4641916" y="3212429"/>
                </a:moveTo>
                <a:lnTo>
                  <a:pt x="4680862" y="3356110"/>
                </a:lnTo>
                <a:lnTo>
                  <a:pt x="4680862" y="3356046"/>
                </a:lnTo>
                <a:lnTo>
                  <a:pt x="4721645" y="3376943"/>
                </a:lnTo>
                <a:lnTo>
                  <a:pt x="4748433" y="3276387"/>
                </a:lnTo>
                <a:close/>
                <a:moveTo>
                  <a:pt x="3608408" y="3106554"/>
                </a:moveTo>
                <a:lnTo>
                  <a:pt x="3791805" y="3283480"/>
                </a:lnTo>
                <a:lnTo>
                  <a:pt x="3284741" y="3387646"/>
                </a:lnTo>
                <a:lnTo>
                  <a:pt x="3101344" y="3210722"/>
                </a:lnTo>
                <a:close/>
                <a:moveTo>
                  <a:pt x="8172114" y="3096359"/>
                </a:moveTo>
                <a:lnTo>
                  <a:pt x="7881250" y="3885372"/>
                </a:lnTo>
                <a:lnTo>
                  <a:pt x="7481146" y="4008601"/>
                </a:lnTo>
                <a:lnTo>
                  <a:pt x="7772010" y="3219588"/>
                </a:lnTo>
                <a:close/>
                <a:moveTo>
                  <a:pt x="2516324" y="3056211"/>
                </a:moveTo>
                <a:lnTo>
                  <a:pt x="2664257" y="3135177"/>
                </a:lnTo>
                <a:lnTo>
                  <a:pt x="2088355" y="3360037"/>
                </a:lnTo>
                <a:lnTo>
                  <a:pt x="1940422" y="3281137"/>
                </a:lnTo>
                <a:close/>
                <a:moveTo>
                  <a:pt x="6735844" y="2946469"/>
                </a:moveTo>
                <a:lnTo>
                  <a:pt x="6735781" y="2946531"/>
                </a:lnTo>
                <a:lnTo>
                  <a:pt x="6545544" y="3145052"/>
                </a:lnTo>
                <a:lnTo>
                  <a:pt x="6555803" y="3613459"/>
                </a:lnTo>
                <a:lnTo>
                  <a:pt x="6709373" y="3566599"/>
                </a:lnTo>
                <a:close/>
                <a:moveTo>
                  <a:pt x="2162385" y="2853512"/>
                </a:moveTo>
                <a:lnTo>
                  <a:pt x="2268838" y="2909426"/>
                </a:lnTo>
                <a:lnTo>
                  <a:pt x="1645948" y="3127198"/>
                </a:lnTo>
                <a:lnTo>
                  <a:pt x="1539494" y="3071283"/>
                </a:lnTo>
                <a:close/>
                <a:moveTo>
                  <a:pt x="3556733" y="2837743"/>
                </a:moveTo>
                <a:lnTo>
                  <a:pt x="4053665" y="2867760"/>
                </a:lnTo>
                <a:lnTo>
                  <a:pt x="4179940" y="3081857"/>
                </a:lnTo>
                <a:lnTo>
                  <a:pt x="3683008" y="3051843"/>
                </a:lnTo>
                <a:close/>
                <a:moveTo>
                  <a:pt x="3330146" y="2824762"/>
                </a:moveTo>
                <a:lnTo>
                  <a:pt x="3480739" y="2969394"/>
                </a:lnTo>
                <a:lnTo>
                  <a:pt x="2931752" y="3054882"/>
                </a:lnTo>
                <a:lnTo>
                  <a:pt x="2781159" y="2910314"/>
                </a:lnTo>
                <a:close/>
                <a:moveTo>
                  <a:pt x="1808447" y="2650810"/>
                </a:moveTo>
                <a:lnTo>
                  <a:pt x="1873358" y="2683675"/>
                </a:lnTo>
                <a:lnTo>
                  <a:pt x="1203478" y="2894357"/>
                </a:lnTo>
                <a:lnTo>
                  <a:pt x="1138567" y="2861491"/>
                </a:lnTo>
                <a:close/>
                <a:moveTo>
                  <a:pt x="4072536" y="2600024"/>
                </a:moveTo>
                <a:lnTo>
                  <a:pt x="4526595" y="2754536"/>
                </a:lnTo>
                <a:lnTo>
                  <a:pt x="4590619" y="2989341"/>
                </a:lnTo>
                <a:lnTo>
                  <a:pt x="4136560" y="2834831"/>
                </a:lnTo>
                <a:close/>
                <a:moveTo>
                  <a:pt x="3051822" y="2542972"/>
                </a:moveTo>
                <a:lnTo>
                  <a:pt x="3169611" y="2655244"/>
                </a:lnTo>
                <a:lnTo>
                  <a:pt x="2578764" y="2722114"/>
                </a:lnTo>
                <a:lnTo>
                  <a:pt x="2461038" y="2609840"/>
                </a:lnTo>
                <a:close/>
                <a:moveTo>
                  <a:pt x="3334136" y="2471985"/>
                </a:moveTo>
                <a:lnTo>
                  <a:pt x="3865328" y="2530307"/>
                </a:lnTo>
                <a:lnTo>
                  <a:pt x="3969186" y="2705459"/>
                </a:lnTo>
                <a:lnTo>
                  <a:pt x="3438057" y="2647136"/>
                </a:lnTo>
                <a:close/>
                <a:moveTo>
                  <a:pt x="6323644" y="2462165"/>
                </a:moveTo>
                <a:lnTo>
                  <a:pt x="6323662" y="2462248"/>
                </a:lnTo>
                <a:lnTo>
                  <a:pt x="6185020" y="2709004"/>
                </a:lnTo>
                <a:lnTo>
                  <a:pt x="6318958" y="3167722"/>
                </a:lnTo>
                <a:lnTo>
                  <a:pt x="6460812" y="3080272"/>
                </a:lnTo>
                <a:lnTo>
                  <a:pt x="6323662" y="2462248"/>
                </a:lnTo>
                <a:lnTo>
                  <a:pt x="6323708" y="2462165"/>
                </a:lnTo>
                <a:close/>
                <a:moveTo>
                  <a:pt x="1454445" y="2448107"/>
                </a:moveTo>
                <a:lnTo>
                  <a:pt x="1477877" y="2457922"/>
                </a:lnTo>
                <a:lnTo>
                  <a:pt x="761071" y="2661508"/>
                </a:lnTo>
                <a:lnTo>
                  <a:pt x="737640" y="2651630"/>
                </a:lnTo>
                <a:close/>
                <a:moveTo>
                  <a:pt x="2773559" y="2261241"/>
                </a:moveTo>
                <a:lnTo>
                  <a:pt x="2858482" y="2341154"/>
                </a:lnTo>
                <a:lnTo>
                  <a:pt x="2225775" y="2389347"/>
                </a:lnTo>
                <a:lnTo>
                  <a:pt x="2140853" y="2309430"/>
                </a:lnTo>
                <a:close/>
                <a:moveTo>
                  <a:pt x="7806081" y="2223312"/>
                </a:moveTo>
                <a:lnTo>
                  <a:pt x="7722172" y="3078945"/>
                </a:lnTo>
                <a:lnTo>
                  <a:pt x="7352781" y="3308051"/>
                </a:lnTo>
                <a:lnTo>
                  <a:pt x="7436690" y="2452419"/>
                </a:lnTo>
                <a:close/>
                <a:moveTo>
                  <a:pt x="3956837" y="2197219"/>
                </a:moveTo>
                <a:lnTo>
                  <a:pt x="4435657" y="2387189"/>
                </a:lnTo>
                <a:lnTo>
                  <a:pt x="4488536" y="2579443"/>
                </a:lnTo>
                <a:lnTo>
                  <a:pt x="4009715" y="2389471"/>
                </a:lnTo>
                <a:close/>
                <a:moveTo>
                  <a:pt x="3111603" y="2106224"/>
                </a:moveTo>
                <a:lnTo>
                  <a:pt x="3676992" y="2192851"/>
                </a:lnTo>
                <a:lnTo>
                  <a:pt x="3758368" y="2329060"/>
                </a:lnTo>
                <a:lnTo>
                  <a:pt x="3192979" y="2242432"/>
                </a:lnTo>
                <a:close/>
                <a:moveTo>
                  <a:pt x="5781750" y="2095963"/>
                </a:moveTo>
                <a:lnTo>
                  <a:pt x="5707593" y="2376487"/>
                </a:lnTo>
                <a:lnTo>
                  <a:pt x="5963247" y="2792400"/>
                </a:lnTo>
                <a:lnTo>
                  <a:pt x="6082683" y="2668031"/>
                </a:lnTo>
                <a:close/>
                <a:moveTo>
                  <a:pt x="2495298" y="1979451"/>
                </a:moveTo>
                <a:lnTo>
                  <a:pt x="2547417" y="2027072"/>
                </a:lnTo>
                <a:lnTo>
                  <a:pt x="1872851" y="2056580"/>
                </a:lnTo>
                <a:lnTo>
                  <a:pt x="1820669" y="2008961"/>
                </a:lnTo>
                <a:close/>
                <a:moveTo>
                  <a:pt x="8377613" y="1857548"/>
                </a:moveTo>
                <a:lnTo>
                  <a:pt x="8377613" y="2230399"/>
                </a:lnTo>
                <a:lnTo>
                  <a:pt x="8303646" y="2736295"/>
                </a:lnTo>
                <a:lnTo>
                  <a:pt x="8001383" y="2924622"/>
                </a:lnTo>
                <a:lnTo>
                  <a:pt x="8135321" y="2008513"/>
                </a:lnTo>
                <a:close/>
                <a:moveTo>
                  <a:pt x="3841137" y="1794411"/>
                </a:moveTo>
                <a:lnTo>
                  <a:pt x="4344718" y="2019845"/>
                </a:lnTo>
                <a:lnTo>
                  <a:pt x="4386451" y="2169480"/>
                </a:lnTo>
                <a:lnTo>
                  <a:pt x="3882870" y="1944046"/>
                </a:lnTo>
                <a:close/>
                <a:moveTo>
                  <a:pt x="2889006" y="1740524"/>
                </a:moveTo>
                <a:lnTo>
                  <a:pt x="3488655" y="1855394"/>
                </a:lnTo>
                <a:lnTo>
                  <a:pt x="3547613" y="1952660"/>
                </a:lnTo>
                <a:lnTo>
                  <a:pt x="2947964" y="1837790"/>
                </a:lnTo>
                <a:close/>
                <a:moveTo>
                  <a:pt x="2216973" y="1697653"/>
                </a:moveTo>
                <a:lnTo>
                  <a:pt x="2236289" y="1712914"/>
                </a:lnTo>
                <a:lnTo>
                  <a:pt x="1519863" y="1723806"/>
                </a:lnTo>
                <a:lnTo>
                  <a:pt x="1500548" y="1708545"/>
                </a:lnTo>
                <a:close/>
                <a:moveTo>
                  <a:pt x="4596319" y="1684169"/>
                </a:moveTo>
                <a:lnTo>
                  <a:pt x="5007949" y="2025486"/>
                </a:lnTo>
                <a:lnTo>
                  <a:pt x="5009468" y="2177779"/>
                </a:lnTo>
                <a:lnTo>
                  <a:pt x="4597839" y="1836527"/>
                </a:lnTo>
                <a:close/>
                <a:moveTo>
                  <a:pt x="7207825" y="1461648"/>
                </a:moveTo>
                <a:lnTo>
                  <a:pt x="7349425" y="2327223"/>
                </a:lnTo>
                <a:lnTo>
                  <a:pt x="7038867" y="2652392"/>
                </a:lnTo>
                <a:lnTo>
                  <a:pt x="6897266" y="1786755"/>
                </a:lnTo>
                <a:close/>
                <a:moveTo>
                  <a:pt x="3725438" y="1391544"/>
                </a:moveTo>
                <a:lnTo>
                  <a:pt x="4253780" y="1652503"/>
                </a:lnTo>
                <a:lnTo>
                  <a:pt x="4284367" y="1759584"/>
                </a:lnTo>
                <a:lnTo>
                  <a:pt x="3756025" y="1498625"/>
                </a:lnTo>
                <a:close/>
                <a:moveTo>
                  <a:pt x="2666409" y="1374763"/>
                </a:moveTo>
                <a:lnTo>
                  <a:pt x="3300319" y="1517939"/>
                </a:lnTo>
                <a:lnTo>
                  <a:pt x="3336859" y="1576260"/>
                </a:lnTo>
                <a:lnTo>
                  <a:pt x="2702949" y="1433084"/>
                </a:lnTo>
                <a:close/>
                <a:moveTo>
                  <a:pt x="5247201" y="1300358"/>
                </a:moveTo>
                <a:lnTo>
                  <a:pt x="5828549" y="1919225"/>
                </a:lnTo>
                <a:lnTo>
                  <a:pt x="5826649" y="1926508"/>
                </a:lnTo>
                <a:lnTo>
                  <a:pt x="6025244" y="1573096"/>
                </a:lnTo>
                <a:lnTo>
                  <a:pt x="6411163" y="2306640"/>
                </a:lnTo>
                <a:lnTo>
                  <a:pt x="6407553" y="2313037"/>
                </a:lnTo>
                <a:lnTo>
                  <a:pt x="6679925" y="2028776"/>
                </a:lnTo>
                <a:lnTo>
                  <a:pt x="6855786" y="2821403"/>
                </a:lnTo>
                <a:lnTo>
                  <a:pt x="6850847" y="2826532"/>
                </a:lnTo>
                <a:lnTo>
                  <a:pt x="7174578" y="2626427"/>
                </a:lnTo>
                <a:lnTo>
                  <a:pt x="7140634" y="3421650"/>
                </a:lnTo>
                <a:lnTo>
                  <a:pt x="7134808" y="3425260"/>
                </a:lnTo>
                <a:lnTo>
                  <a:pt x="7485263" y="3317926"/>
                </a:lnTo>
                <a:lnTo>
                  <a:pt x="7255827" y="4062363"/>
                </a:lnTo>
                <a:lnTo>
                  <a:pt x="7249494" y="4064326"/>
                </a:lnTo>
                <a:lnTo>
                  <a:pt x="7601723" y="4051598"/>
                </a:lnTo>
                <a:lnTo>
                  <a:pt x="7203392" y="4698391"/>
                </a:lnTo>
                <a:lnTo>
                  <a:pt x="7197059" y="4698644"/>
                </a:lnTo>
                <a:lnTo>
                  <a:pt x="7527376" y="4775963"/>
                </a:lnTo>
                <a:lnTo>
                  <a:pt x="6996437" y="5287368"/>
                </a:lnTo>
                <a:lnTo>
                  <a:pt x="6990484" y="5285975"/>
                </a:lnTo>
                <a:lnTo>
                  <a:pt x="7277992" y="5443019"/>
                </a:lnTo>
                <a:lnTo>
                  <a:pt x="6657571" y="5792568"/>
                </a:lnTo>
                <a:lnTo>
                  <a:pt x="6652378" y="5789718"/>
                </a:lnTo>
                <a:lnTo>
                  <a:pt x="6880357" y="6011353"/>
                </a:lnTo>
                <a:lnTo>
                  <a:pt x="6217127" y="6184987"/>
                </a:lnTo>
                <a:lnTo>
                  <a:pt x="6213011" y="6180998"/>
                </a:lnTo>
                <a:lnTo>
                  <a:pt x="6369557" y="6448732"/>
                </a:lnTo>
                <a:lnTo>
                  <a:pt x="5710379" y="6444869"/>
                </a:lnTo>
                <a:lnTo>
                  <a:pt x="5710443" y="6444996"/>
                </a:lnTo>
                <a:lnTo>
                  <a:pt x="5707593" y="6440120"/>
                </a:lnTo>
                <a:lnTo>
                  <a:pt x="5786372" y="6733437"/>
                </a:lnTo>
                <a:lnTo>
                  <a:pt x="5175071" y="6562525"/>
                </a:lnTo>
                <a:lnTo>
                  <a:pt x="5173615" y="6557206"/>
                </a:lnTo>
                <a:lnTo>
                  <a:pt x="5173804" y="6839062"/>
                </a:lnTo>
                <a:lnTo>
                  <a:pt x="5173804" y="6854893"/>
                </a:lnTo>
                <a:lnTo>
                  <a:pt x="5147524" y="6839062"/>
                </a:lnTo>
                <a:lnTo>
                  <a:pt x="4648565" y="6537956"/>
                </a:lnTo>
                <a:lnTo>
                  <a:pt x="4648565" y="6532573"/>
                </a:lnTo>
                <a:lnTo>
                  <a:pt x="4574662" y="6814556"/>
                </a:lnTo>
                <a:lnTo>
                  <a:pt x="4165755" y="6381165"/>
                </a:lnTo>
                <a:lnTo>
                  <a:pt x="4167085" y="6376100"/>
                </a:lnTo>
                <a:lnTo>
                  <a:pt x="4028208" y="6624393"/>
                </a:lnTo>
                <a:lnTo>
                  <a:pt x="3756279" y="6110201"/>
                </a:lnTo>
                <a:lnTo>
                  <a:pt x="3758812" y="6105706"/>
                </a:lnTo>
                <a:lnTo>
                  <a:pt x="3568069" y="6305620"/>
                </a:lnTo>
                <a:lnTo>
                  <a:pt x="3443440" y="5749697"/>
                </a:lnTo>
                <a:lnTo>
                  <a:pt x="3446860" y="5746088"/>
                </a:lnTo>
                <a:lnTo>
                  <a:pt x="3219957" y="5886984"/>
                </a:lnTo>
                <a:lnTo>
                  <a:pt x="3242565" y="5328909"/>
                </a:lnTo>
                <a:lnTo>
                  <a:pt x="3246681" y="5326376"/>
                </a:lnTo>
                <a:lnTo>
                  <a:pt x="3000906" y="5402238"/>
                </a:lnTo>
                <a:lnTo>
                  <a:pt x="3160809" y="4879498"/>
                </a:lnTo>
                <a:lnTo>
                  <a:pt x="3165242" y="4878105"/>
                </a:lnTo>
                <a:lnTo>
                  <a:pt x="2918074" y="4887540"/>
                </a:lnTo>
                <a:lnTo>
                  <a:pt x="3196716" y="4433063"/>
                </a:lnTo>
                <a:lnTo>
                  <a:pt x="3201212" y="4432873"/>
                </a:lnTo>
                <a:lnTo>
                  <a:pt x="2969306" y="4379110"/>
                </a:lnTo>
                <a:lnTo>
                  <a:pt x="3341166" y="4019430"/>
                </a:lnTo>
                <a:lnTo>
                  <a:pt x="3345346" y="4020380"/>
                </a:lnTo>
                <a:lnTo>
                  <a:pt x="3143330" y="3910639"/>
                </a:lnTo>
                <a:lnTo>
                  <a:pt x="3578264" y="3664435"/>
                </a:lnTo>
                <a:lnTo>
                  <a:pt x="3581938" y="3666398"/>
                </a:lnTo>
                <a:lnTo>
                  <a:pt x="3421592" y="3511190"/>
                </a:lnTo>
                <a:lnTo>
                  <a:pt x="3886797" y="3388343"/>
                </a:lnTo>
                <a:lnTo>
                  <a:pt x="3889710" y="3391128"/>
                </a:lnTo>
                <a:lnTo>
                  <a:pt x="3779456" y="3203438"/>
                </a:lnTo>
                <a:lnTo>
                  <a:pt x="4242128" y="3205147"/>
                </a:lnTo>
                <a:lnTo>
                  <a:pt x="4244091" y="3208566"/>
                </a:lnTo>
                <a:lnTo>
                  <a:pt x="4188363" y="3002891"/>
                </a:lnTo>
                <a:lnTo>
                  <a:pt x="4617661" y="3121876"/>
                </a:lnTo>
                <a:lnTo>
                  <a:pt x="4618674" y="3125612"/>
                </a:lnTo>
                <a:lnTo>
                  <a:pt x="4618104" y="2916706"/>
                </a:lnTo>
                <a:lnTo>
                  <a:pt x="4813343" y="3033919"/>
                </a:lnTo>
                <a:lnTo>
                  <a:pt x="4847604" y="2905308"/>
                </a:lnTo>
                <a:lnTo>
                  <a:pt x="4611898" y="2744464"/>
                </a:lnTo>
                <a:lnTo>
                  <a:pt x="4610885" y="2505860"/>
                </a:lnTo>
                <a:lnTo>
                  <a:pt x="4889843" y="2696210"/>
                </a:lnTo>
                <a:lnTo>
                  <a:pt x="4931766" y="2538345"/>
                </a:lnTo>
                <a:lnTo>
                  <a:pt x="4604932" y="2290495"/>
                </a:lnTo>
                <a:lnTo>
                  <a:pt x="4603666" y="2095076"/>
                </a:lnTo>
                <a:lnTo>
                  <a:pt x="4974766" y="2376487"/>
                </a:lnTo>
                <a:lnTo>
                  <a:pt x="5049936" y="2093367"/>
                </a:lnTo>
                <a:lnTo>
                  <a:pt x="5506971" y="2518399"/>
                </a:lnTo>
                <a:lnTo>
                  <a:pt x="5594110" y="2363695"/>
                </a:lnTo>
                <a:lnTo>
                  <a:pt x="5104017" y="1841970"/>
                </a:lnTo>
                <a:close/>
                <a:moveTo>
                  <a:pt x="4589100" y="1273385"/>
                </a:moveTo>
                <a:lnTo>
                  <a:pt x="5014915" y="1654534"/>
                </a:lnTo>
                <a:lnTo>
                  <a:pt x="5016688" y="1763704"/>
                </a:lnTo>
                <a:lnTo>
                  <a:pt x="4590873" y="1382492"/>
                </a:lnTo>
                <a:close/>
                <a:moveTo>
                  <a:pt x="2443813" y="1009004"/>
                </a:moveTo>
                <a:lnTo>
                  <a:pt x="3111920" y="1180486"/>
                </a:lnTo>
                <a:lnTo>
                  <a:pt x="3126105" y="1199863"/>
                </a:lnTo>
                <a:lnTo>
                  <a:pt x="2457935" y="1028381"/>
                </a:lnTo>
                <a:close/>
                <a:moveTo>
                  <a:pt x="3609738" y="988739"/>
                </a:moveTo>
                <a:lnTo>
                  <a:pt x="4162841" y="1285159"/>
                </a:lnTo>
                <a:lnTo>
                  <a:pt x="4182283" y="1349686"/>
                </a:lnTo>
                <a:lnTo>
                  <a:pt x="3629180" y="1053203"/>
                </a:lnTo>
                <a:close/>
                <a:moveTo>
                  <a:pt x="7735787" y="894517"/>
                </a:moveTo>
                <a:lnTo>
                  <a:pt x="7843127" y="1833109"/>
                </a:lnTo>
                <a:lnTo>
                  <a:pt x="7589247" y="2100019"/>
                </a:lnTo>
                <a:lnTo>
                  <a:pt x="7481906" y="1161429"/>
                </a:lnTo>
                <a:close/>
                <a:moveTo>
                  <a:pt x="6405780" y="872226"/>
                </a:moveTo>
                <a:lnTo>
                  <a:pt x="6776563" y="1686955"/>
                </a:lnTo>
                <a:lnTo>
                  <a:pt x="6550420" y="2090899"/>
                </a:lnTo>
                <a:lnTo>
                  <a:pt x="6179637" y="1276171"/>
                </a:lnTo>
                <a:close/>
                <a:moveTo>
                  <a:pt x="4581944" y="862537"/>
                </a:moveTo>
                <a:lnTo>
                  <a:pt x="5021881" y="1283580"/>
                </a:lnTo>
                <a:lnTo>
                  <a:pt x="5023844" y="1349627"/>
                </a:lnTo>
                <a:lnTo>
                  <a:pt x="4583907" y="928521"/>
                </a:lnTo>
                <a:close/>
                <a:moveTo>
                  <a:pt x="3494038" y="585871"/>
                </a:moveTo>
                <a:lnTo>
                  <a:pt x="4071903" y="917816"/>
                </a:lnTo>
                <a:lnTo>
                  <a:pt x="4080199" y="939726"/>
                </a:lnTo>
                <a:lnTo>
                  <a:pt x="3502334" y="607844"/>
                </a:lnTo>
                <a:close/>
                <a:moveTo>
                  <a:pt x="5444466" y="507352"/>
                </a:moveTo>
                <a:lnTo>
                  <a:pt x="6032020" y="1210314"/>
                </a:lnTo>
                <a:lnTo>
                  <a:pt x="5911444" y="1669160"/>
                </a:lnTo>
                <a:lnTo>
                  <a:pt x="5323890" y="966198"/>
                </a:lnTo>
                <a:close/>
                <a:moveTo>
                  <a:pt x="4574725" y="451691"/>
                </a:moveTo>
                <a:lnTo>
                  <a:pt x="5028847" y="912627"/>
                </a:lnTo>
                <a:lnTo>
                  <a:pt x="5031064" y="935486"/>
                </a:lnTo>
                <a:lnTo>
                  <a:pt x="4577005" y="474551"/>
                </a:lnTo>
                <a:close/>
                <a:moveTo>
                  <a:pt x="8263686" y="327323"/>
                </a:moveTo>
                <a:lnTo>
                  <a:pt x="8336766" y="1338990"/>
                </a:lnTo>
                <a:lnTo>
                  <a:pt x="8139627" y="1547706"/>
                </a:lnTo>
                <a:lnTo>
                  <a:pt x="8066484" y="536039"/>
                </a:lnTo>
                <a:close/>
                <a:moveTo>
                  <a:pt x="6786379" y="171355"/>
                </a:moveTo>
                <a:lnTo>
                  <a:pt x="7142027" y="1067265"/>
                </a:lnTo>
                <a:lnTo>
                  <a:pt x="6957427" y="1398577"/>
                </a:lnTo>
                <a:lnTo>
                  <a:pt x="6601779" y="502667"/>
                </a:lnTo>
                <a:close/>
                <a:moveTo>
                  <a:pt x="7767324" y="2"/>
                </a:moveTo>
                <a:lnTo>
                  <a:pt x="7779166" y="2"/>
                </a:lnTo>
                <a:lnTo>
                  <a:pt x="7771566" y="13870"/>
                </a:lnTo>
                <a:close/>
                <a:moveTo>
                  <a:pt x="7118406" y="2"/>
                </a:moveTo>
                <a:lnTo>
                  <a:pt x="7351578" y="2"/>
                </a:lnTo>
                <a:lnTo>
                  <a:pt x="7507491" y="447513"/>
                </a:lnTo>
                <a:lnTo>
                  <a:pt x="7364497" y="706191"/>
                </a:lnTo>
                <a:close/>
                <a:moveTo>
                  <a:pt x="6304645" y="1"/>
                </a:moveTo>
                <a:lnTo>
                  <a:pt x="6385768" y="1"/>
                </a:lnTo>
                <a:lnTo>
                  <a:pt x="6363730" y="85742"/>
                </a:lnTo>
                <a:close/>
                <a:moveTo>
                  <a:pt x="5567385" y="0"/>
                </a:moveTo>
                <a:lnTo>
                  <a:pt x="5857299" y="0"/>
                </a:lnTo>
                <a:lnTo>
                  <a:pt x="6235555" y="501337"/>
                </a:lnTo>
                <a:lnTo>
                  <a:pt x="6137587" y="877482"/>
                </a:lnTo>
                <a:lnTo>
                  <a:pt x="5543827" y="9049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214E23-4D5A-C225-A302-6C9C57B22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643127"/>
            <a:ext cx="7239024" cy="132556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FDD0999-C447-FB95-885F-11AEB8E057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908" y="1714110"/>
            <a:ext cx="1840546" cy="610478"/>
          </a:xfrm>
          <a:prstGeom prst="rect">
            <a:avLst/>
          </a:prstGeom>
        </p:spPr>
      </p:pic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C941124A-CF9A-BC00-61DB-5D6E5359718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411629" y="5850238"/>
            <a:ext cx="2396464" cy="63286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69DFD76-F8BE-B383-F2CB-FD881A7180E6}"/>
              </a:ext>
            </a:extLst>
          </p:cNvPr>
          <p:cNvSpPr txBox="1"/>
          <p:nvPr userDrawn="1"/>
        </p:nvSpPr>
        <p:spPr>
          <a:xfrm>
            <a:off x="383907" y="6267664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mangroup.com</a:t>
            </a:r>
            <a:endParaRPr lang="en-GB" sz="800" spc="55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225CFFB-FF9E-47C5-8A38-CBE27EAF4C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3908" y="4082988"/>
            <a:ext cx="3519877" cy="3385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fld id="{F87D1B13-C418-4B54-A88F-089CED815103}" type="datetime3">
              <a:rPr lang="en-US" smtClean="0"/>
              <a:t>23 September 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52073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Relationship Id="rId14" Type="http://schemas.openxmlformats.org/officeDocument/2006/relationships/image" Target="../media/image5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9" Type="http://schemas.openxmlformats.org/officeDocument/2006/relationships/image" Target="../media/image2.png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34" Type="http://schemas.openxmlformats.org/officeDocument/2006/relationships/slideLayout" Target="../slideLayouts/slideLayout53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slideLayout" Target="../slideLayouts/slideLayout52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slideLayout" Target="../slideLayouts/slideLayout51.xml"/><Relationship Id="rId37" Type="http://schemas.openxmlformats.org/officeDocument/2006/relationships/oleObject" Target="../embeddings/oleObject3.bin"/><Relationship Id="rId40" Type="http://schemas.openxmlformats.org/officeDocument/2006/relationships/image" Target="../media/image3.svg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36" Type="http://schemas.openxmlformats.org/officeDocument/2006/relationships/tags" Target="../tags/tag4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0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Relationship Id="rId35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theme" Target="../theme/theme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33" Type="http://schemas.openxmlformats.org/officeDocument/2006/relationships/slideLayout" Target="../slideLayouts/slideLayout88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29" Type="http://schemas.openxmlformats.org/officeDocument/2006/relationships/slideLayout" Target="../slideLayouts/slideLayout84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32" Type="http://schemas.openxmlformats.org/officeDocument/2006/relationships/slideLayout" Target="../slideLayouts/slideLayout87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slideLayout" Target="../slideLayouts/slideLayout83.xml"/><Relationship Id="rId36" Type="http://schemas.openxmlformats.org/officeDocument/2006/relationships/image" Target="../media/image3.svg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31" Type="http://schemas.openxmlformats.org/officeDocument/2006/relationships/slideLayout" Target="../slideLayouts/slideLayout86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slideLayout" Target="../slideLayouts/slideLayout85.xml"/><Relationship Id="rId35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2ED2E8E-C676-41E2-AF02-6A8BF3ECF3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23310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2ED2E8E-C676-41E2-AF02-6A8BF3ECF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586848-F742-645F-A2C5-1F698FEAF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80520"/>
            <a:ext cx="1143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472317-BCA6-85A8-36E7-0A0C80ED62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749425"/>
            <a:ext cx="11430000" cy="44100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229A4E-DB65-446D-9634-A4520D14CF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A5A734-3203-4F73-A4EB-80311BE2EDC8}" type="datetime3">
              <a:rPr lang="en-US" smtClean="0"/>
              <a:t>23 September 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2990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6" r:id="rId6"/>
    <p:sldLayoutId id="2147483677" r:id="rId7"/>
    <p:sldLayoutId id="2147483678" r:id="rId8"/>
    <p:sldLayoutId id="2147483680" r:id="rId9"/>
    <p:sldLayoutId id="2147483710" r:id="rId10"/>
    <p:sldLayoutId id="2147483743" r:id="rId11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F79EC6-E0D6-4877-91F5-710FDD81C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08653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F79EC6-E0D6-4877-91F5-710FDD81C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586848-F742-645F-A2C5-1F698FEAF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80520"/>
            <a:ext cx="1143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472317-BCA6-85A8-36E7-0A0C80ED62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749425"/>
            <a:ext cx="11430000" cy="44100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0" name="bg object 18">
            <a:extLst>
              <a:ext uri="{FF2B5EF4-FFF2-40B4-BE49-F238E27FC236}">
                <a16:creationId xmlns:a16="http://schemas.microsoft.com/office/drawing/2014/main" id="{12F9AF8E-F443-9242-CE3B-F010F16832CE}"/>
              </a:ext>
            </a:extLst>
          </p:cNvPr>
          <p:cNvSpPr/>
          <p:nvPr userDrawn="1"/>
        </p:nvSpPr>
        <p:spPr>
          <a:xfrm>
            <a:off x="11307847" y="6413630"/>
            <a:ext cx="884153" cy="209659"/>
          </a:xfrm>
          <a:custGeom>
            <a:avLst/>
            <a:gdLst/>
            <a:ahLst/>
            <a:cxnLst/>
            <a:rect l="l" t="t" r="r" b="b"/>
            <a:pathLst>
              <a:path w="1566544" h="371475">
                <a:moveTo>
                  <a:pt x="214210" y="0"/>
                </a:moveTo>
                <a:lnTo>
                  <a:pt x="165100" y="0"/>
                </a:lnTo>
                <a:lnTo>
                  <a:pt x="0" y="370878"/>
                </a:lnTo>
                <a:lnTo>
                  <a:pt x="49110" y="370878"/>
                </a:lnTo>
                <a:lnTo>
                  <a:pt x="214210" y="0"/>
                </a:lnTo>
                <a:close/>
              </a:path>
              <a:path w="1566544" h="371475">
                <a:moveTo>
                  <a:pt x="1566252" y="0"/>
                </a:moveTo>
                <a:lnTo>
                  <a:pt x="254063" y="0"/>
                </a:lnTo>
                <a:lnTo>
                  <a:pt x="88950" y="370878"/>
                </a:lnTo>
                <a:lnTo>
                  <a:pt x="1566252" y="370878"/>
                </a:lnTo>
                <a:lnTo>
                  <a:pt x="1566252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8D733C1-E61E-CFF1-452A-73029B0577D6}"/>
              </a:ext>
            </a:extLst>
          </p:cNvPr>
          <p:cNvSpPr txBox="1"/>
          <p:nvPr userDrawn="1"/>
        </p:nvSpPr>
        <p:spPr>
          <a:xfrm>
            <a:off x="1610591" y="6413631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rculation</a:t>
            </a:r>
            <a:r>
              <a:rPr lang="en-GB" sz="800" spc="1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ed</a:t>
            </a:r>
            <a:r>
              <a:rPr lang="en-GB" sz="800" spc="12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GB" sz="800" spc="1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rc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B758F04-8CD8-E2F8-C107-75E95DDA898D}"/>
              </a:ext>
            </a:extLst>
          </p:cNvPr>
          <p:cNvSpPr txBox="1"/>
          <p:nvPr userDrawn="1"/>
        </p:nvSpPr>
        <p:spPr>
          <a:xfrm>
            <a:off x="11464173" y="6413630"/>
            <a:ext cx="5715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CAB9123-6C5D-6742-A884-75399720DA2F}" type="slidenum">
              <a:rPr 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D9CDDFE7-CC48-8FE6-7550-23F59404E9A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83908" y="6383663"/>
            <a:ext cx="739897" cy="245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748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19773DC-A30D-4DAE-BB30-76A33D9B1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916985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395" imgH="394" progId="TCLayout.ActiveDocument.1">
                  <p:embed/>
                </p:oleObj>
              </mc:Choice>
              <mc:Fallback>
                <p:oleObj name="think-cell Slide" r:id="rId3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19773DC-A30D-4DAE-BB30-76A33D9B1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586848-F742-645F-A2C5-1F698FEAF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80520"/>
            <a:ext cx="11430000" cy="958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472317-BCA6-85A8-36E7-0A0C80ED62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749425"/>
            <a:ext cx="11430000" cy="44100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bg object 18">
            <a:extLst>
              <a:ext uri="{FF2B5EF4-FFF2-40B4-BE49-F238E27FC236}">
                <a16:creationId xmlns:a16="http://schemas.microsoft.com/office/drawing/2014/main" id="{F44A85DB-87B7-A979-1C42-40DF5CB63808}"/>
              </a:ext>
            </a:extLst>
          </p:cNvPr>
          <p:cNvSpPr/>
          <p:nvPr userDrawn="1"/>
        </p:nvSpPr>
        <p:spPr>
          <a:xfrm>
            <a:off x="11307847" y="6413631"/>
            <a:ext cx="884153" cy="209659"/>
          </a:xfrm>
          <a:custGeom>
            <a:avLst/>
            <a:gdLst/>
            <a:ahLst/>
            <a:cxnLst/>
            <a:rect l="l" t="t" r="r" b="b"/>
            <a:pathLst>
              <a:path w="1566544" h="371475">
                <a:moveTo>
                  <a:pt x="214210" y="0"/>
                </a:moveTo>
                <a:lnTo>
                  <a:pt x="165100" y="0"/>
                </a:lnTo>
                <a:lnTo>
                  <a:pt x="0" y="370878"/>
                </a:lnTo>
                <a:lnTo>
                  <a:pt x="49110" y="370878"/>
                </a:lnTo>
                <a:lnTo>
                  <a:pt x="214210" y="0"/>
                </a:lnTo>
                <a:close/>
              </a:path>
              <a:path w="1566544" h="371475">
                <a:moveTo>
                  <a:pt x="1566252" y="0"/>
                </a:moveTo>
                <a:lnTo>
                  <a:pt x="254063" y="0"/>
                </a:lnTo>
                <a:lnTo>
                  <a:pt x="88950" y="370878"/>
                </a:lnTo>
                <a:lnTo>
                  <a:pt x="1566252" y="370878"/>
                </a:lnTo>
                <a:lnTo>
                  <a:pt x="1566252" y="0"/>
                </a:lnTo>
                <a:close/>
              </a:path>
            </a:pathLst>
          </a:custGeom>
          <a:solidFill>
            <a:srgbClr val="1A0F5C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A53D74-1490-616A-ABCB-1C69E2F86054}"/>
              </a:ext>
            </a:extLst>
          </p:cNvPr>
          <p:cNvSpPr txBox="1"/>
          <p:nvPr userDrawn="1"/>
        </p:nvSpPr>
        <p:spPr>
          <a:xfrm>
            <a:off x="1610591" y="6413631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Circulation</a:t>
            </a:r>
            <a:r>
              <a:rPr lang="en-GB" sz="800" spc="120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800" spc="55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Limited</a:t>
            </a:r>
            <a:r>
              <a:rPr lang="en-GB" sz="800" spc="125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800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GB" sz="800" spc="120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800" spc="55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Cli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D91630A-C1B0-0EE4-82E5-2C18C033CC98}"/>
              </a:ext>
            </a:extLst>
          </p:cNvPr>
          <p:cNvSpPr txBox="1"/>
          <p:nvPr userDrawn="1"/>
        </p:nvSpPr>
        <p:spPr>
          <a:xfrm>
            <a:off x="11464173" y="6413631"/>
            <a:ext cx="5715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CAB9123-6C5D-6742-A884-75399720DA2F}" type="slidenum">
              <a:rPr lang="en-US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692409C-91D8-0F83-A79B-C4478236DAB9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383908" y="6383663"/>
            <a:ext cx="739897" cy="245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252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663" r:id="rId3"/>
    <p:sldLayoutId id="2147483660" r:id="rId4"/>
    <p:sldLayoutId id="2147483724" r:id="rId5"/>
    <p:sldLayoutId id="2147483725" r:id="rId6"/>
    <p:sldLayoutId id="2147483723" r:id="rId7"/>
    <p:sldLayoutId id="2147483726" r:id="rId8"/>
    <p:sldLayoutId id="2147483727" r:id="rId9"/>
    <p:sldLayoutId id="2147483662" r:id="rId10"/>
    <p:sldLayoutId id="2147483721" r:id="rId11"/>
    <p:sldLayoutId id="2147483722" r:id="rId12"/>
    <p:sldLayoutId id="2147483661" r:id="rId13"/>
    <p:sldLayoutId id="2147483714" r:id="rId14"/>
    <p:sldLayoutId id="2147483715" r:id="rId15"/>
    <p:sldLayoutId id="2147483692" r:id="rId16"/>
    <p:sldLayoutId id="2147483717" r:id="rId17"/>
    <p:sldLayoutId id="2147483739" r:id="rId18"/>
    <p:sldLayoutId id="2147483718" r:id="rId19"/>
    <p:sldLayoutId id="2147483740" r:id="rId20"/>
    <p:sldLayoutId id="2147483719" r:id="rId21"/>
    <p:sldLayoutId id="2147483741" r:id="rId22"/>
    <p:sldLayoutId id="2147483720" r:id="rId23"/>
    <p:sldLayoutId id="2147483696" r:id="rId24"/>
    <p:sldLayoutId id="2147483711" r:id="rId25"/>
    <p:sldLayoutId id="2147483693" r:id="rId26"/>
    <p:sldLayoutId id="2147483694" r:id="rId27"/>
    <p:sldLayoutId id="2147483695" r:id="rId28"/>
    <p:sldLayoutId id="2147483698" r:id="rId29"/>
    <p:sldLayoutId id="2147483697" r:id="rId30"/>
    <p:sldLayoutId id="2147483681" r:id="rId31"/>
    <p:sldLayoutId id="2147483682" r:id="rId32"/>
    <p:sldLayoutId id="2147483683" r:id="rId33"/>
    <p:sldLayoutId id="2147483742" r:id="rId34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1200" kern="1200" baseline="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 baseline="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2pPr>
      <a:lvl3pPr marL="6858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 baseline="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3pPr>
      <a:lvl4pPr marL="9144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 baseline="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4pPr>
      <a:lvl5pPr marL="11430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 baseline="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76" userDrawn="1">
          <p15:clr>
            <a:srgbClr val="F26B43"/>
          </p15:clr>
        </p15:guide>
        <p15:guide id="2" pos="240" userDrawn="1">
          <p15:clr>
            <a:srgbClr val="F26B43"/>
          </p15:clr>
        </p15:guide>
        <p15:guide id="3" pos="7450" userDrawn="1">
          <p15:clr>
            <a:srgbClr val="F26B43"/>
          </p15:clr>
        </p15:guide>
        <p15:guide id="4" orient="horz" pos="113" userDrawn="1">
          <p15:clr>
            <a:srgbClr val="F26B43"/>
          </p15:clr>
        </p15:guide>
        <p15:guide id="5" orient="horz" pos="731" userDrawn="1">
          <p15:clr>
            <a:srgbClr val="F26B43"/>
          </p15:clr>
        </p15:guide>
        <p15:guide id="6" orient="horz" pos="1094" userDrawn="1">
          <p15:clr>
            <a:srgbClr val="F26B43"/>
          </p15:clr>
        </p15:guide>
        <p15:guide id="7" orient="horz" pos="951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3786" userDrawn="1">
          <p15:clr>
            <a:srgbClr val="F26B43"/>
          </p15:clr>
        </p15:guide>
        <p15:guide id="10" pos="3901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666818-8DA3-4C27-AEA4-3BDA2A7790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0575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666818-8DA3-4C27-AEA4-3BDA2A7790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586848-F742-645F-A2C5-1F698FEAF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80520"/>
            <a:ext cx="1143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472317-BCA6-85A8-36E7-0A0C80ED62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749425"/>
            <a:ext cx="11430000" cy="4410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bg object 18">
            <a:extLst>
              <a:ext uri="{FF2B5EF4-FFF2-40B4-BE49-F238E27FC236}">
                <a16:creationId xmlns:a16="http://schemas.microsoft.com/office/drawing/2014/main" id="{F44A85DB-87B7-A979-1C42-40DF5CB63808}"/>
              </a:ext>
            </a:extLst>
          </p:cNvPr>
          <p:cNvSpPr/>
          <p:nvPr userDrawn="1"/>
        </p:nvSpPr>
        <p:spPr>
          <a:xfrm>
            <a:off x="11307847" y="6356872"/>
            <a:ext cx="884153" cy="209659"/>
          </a:xfrm>
          <a:custGeom>
            <a:avLst/>
            <a:gdLst/>
            <a:ahLst/>
            <a:cxnLst/>
            <a:rect l="l" t="t" r="r" b="b"/>
            <a:pathLst>
              <a:path w="1566544" h="371475">
                <a:moveTo>
                  <a:pt x="214210" y="0"/>
                </a:moveTo>
                <a:lnTo>
                  <a:pt x="165100" y="0"/>
                </a:lnTo>
                <a:lnTo>
                  <a:pt x="0" y="370878"/>
                </a:lnTo>
                <a:lnTo>
                  <a:pt x="49110" y="370878"/>
                </a:lnTo>
                <a:lnTo>
                  <a:pt x="214210" y="0"/>
                </a:lnTo>
                <a:close/>
              </a:path>
              <a:path w="1566544" h="371475">
                <a:moveTo>
                  <a:pt x="1566252" y="0"/>
                </a:moveTo>
                <a:lnTo>
                  <a:pt x="254063" y="0"/>
                </a:lnTo>
                <a:lnTo>
                  <a:pt x="88950" y="370878"/>
                </a:lnTo>
                <a:lnTo>
                  <a:pt x="1566252" y="370878"/>
                </a:lnTo>
                <a:lnTo>
                  <a:pt x="1566252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A53D74-1490-616A-ABCB-1C69E2F86054}"/>
              </a:ext>
            </a:extLst>
          </p:cNvPr>
          <p:cNvSpPr txBox="1"/>
          <p:nvPr userDrawn="1"/>
        </p:nvSpPr>
        <p:spPr>
          <a:xfrm>
            <a:off x="1610591" y="6356872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rculation</a:t>
            </a:r>
            <a:r>
              <a:rPr lang="en-GB" sz="800" spc="1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spc="55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Limited</a:t>
            </a:r>
            <a:r>
              <a:rPr lang="en-GB" sz="800" spc="12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GB" sz="800" spc="1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spc="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rc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D91630A-C1B0-0EE4-82E5-2C18C033CC98}"/>
              </a:ext>
            </a:extLst>
          </p:cNvPr>
          <p:cNvSpPr txBox="1"/>
          <p:nvPr userDrawn="1"/>
        </p:nvSpPr>
        <p:spPr>
          <a:xfrm>
            <a:off x="11464173" y="6356872"/>
            <a:ext cx="5715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CAB9123-6C5D-6742-A884-75399720DA2F}" type="slidenum">
              <a:rPr lang="en-US" sz="80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85A8294-EEBA-598A-19E4-4C76B88DA20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3908" y="6321119"/>
            <a:ext cx="739897" cy="245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163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1" r:id="rId2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1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586848-F742-645F-A2C5-1F698FEAF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80520"/>
            <a:ext cx="11430000" cy="958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472317-BCA6-85A8-36E7-0A0C80ED62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749425"/>
            <a:ext cx="11430000" cy="44100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bg object 18">
            <a:extLst>
              <a:ext uri="{FF2B5EF4-FFF2-40B4-BE49-F238E27FC236}">
                <a16:creationId xmlns:a16="http://schemas.microsoft.com/office/drawing/2014/main" id="{F44A85DB-87B7-A979-1C42-40DF5CB63808}"/>
              </a:ext>
            </a:extLst>
          </p:cNvPr>
          <p:cNvSpPr/>
          <p:nvPr userDrawn="1"/>
        </p:nvSpPr>
        <p:spPr>
          <a:xfrm>
            <a:off x="11307847" y="6413631"/>
            <a:ext cx="884153" cy="209659"/>
          </a:xfrm>
          <a:custGeom>
            <a:avLst/>
            <a:gdLst/>
            <a:ahLst/>
            <a:cxnLst/>
            <a:rect l="l" t="t" r="r" b="b"/>
            <a:pathLst>
              <a:path w="1566544" h="371475">
                <a:moveTo>
                  <a:pt x="214210" y="0"/>
                </a:moveTo>
                <a:lnTo>
                  <a:pt x="165100" y="0"/>
                </a:lnTo>
                <a:lnTo>
                  <a:pt x="0" y="370878"/>
                </a:lnTo>
                <a:lnTo>
                  <a:pt x="49110" y="370878"/>
                </a:lnTo>
                <a:lnTo>
                  <a:pt x="214210" y="0"/>
                </a:lnTo>
                <a:close/>
              </a:path>
              <a:path w="1566544" h="371475">
                <a:moveTo>
                  <a:pt x="1566252" y="0"/>
                </a:moveTo>
                <a:lnTo>
                  <a:pt x="254063" y="0"/>
                </a:lnTo>
                <a:lnTo>
                  <a:pt x="88950" y="370878"/>
                </a:lnTo>
                <a:lnTo>
                  <a:pt x="1566252" y="370878"/>
                </a:lnTo>
                <a:lnTo>
                  <a:pt x="1566252" y="0"/>
                </a:lnTo>
                <a:close/>
              </a:path>
            </a:pathLst>
          </a:custGeom>
          <a:solidFill>
            <a:srgbClr val="1A0F5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A53D74-1490-616A-ABCB-1C69E2F86054}"/>
              </a:ext>
            </a:extLst>
          </p:cNvPr>
          <p:cNvSpPr txBox="1"/>
          <p:nvPr userDrawn="1"/>
        </p:nvSpPr>
        <p:spPr>
          <a:xfrm>
            <a:off x="1610591" y="6413631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Circulation</a:t>
            </a:r>
            <a:r>
              <a:rPr lang="en-GB" sz="800" spc="120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800" spc="55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Limited</a:t>
            </a:r>
            <a:r>
              <a:rPr lang="en-GB" sz="800" spc="125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800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GB" sz="800" spc="120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800" spc="55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Commerc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D91630A-C1B0-0EE4-82E5-2C18C033CC98}"/>
              </a:ext>
            </a:extLst>
          </p:cNvPr>
          <p:cNvSpPr txBox="1"/>
          <p:nvPr userDrawn="1"/>
        </p:nvSpPr>
        <p:spPr>
          <a:xfrm>
            <a:off x="11464173" y="6413631"/>
            <a:ext cx="5715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CAB9123-6C5D-6742-A884-75399720DA2F}" type="slidenum">
              <a:rPr lang="en-US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692409C-91D8-0F83-A79B-C4478236DAB9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83908" y="6383663"/>
            <a:ext cx="739897" cy="245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252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2" r:id="rId18"/>
    <p:sldLayoutId id="2147483763" r:id="rId19"/>
    <p:sldLayoutId id="2147483764" r:id="rId20"/>
    <p:sldLayoutId id="2147483765" r:id="rId21"/>
    <p:sldLayoutId id="2147483766" r:id="rId22"/>
    <p:sldLayoutId id="2147483767" r:id="rId23"/>
    <p:sldLayoutId id="2147483768" r:id="rId24"/>
    <p:sldLayoutId id="2147483769" r:id="rId25"/>
    <p:sldLayoutId id="2147483770" r:id="rId26"/>
    <p:sldLayoutId id="2147483771" r:id="rId27"/>
    <p:sldLayoutId id="2147483772" r:id="rId28"/>
    <p:sldLayoutId id="2147483773" r:id="rId29"/>
    <p:sldLayoutId id="2147483774" r:id="rId30"/>
    <p:sldLayoutId id="2147483775" r:id="rId31"/>
    <p:sldLayoutId id="2147483776" r:id="rId32"/>
    <p:sldLayoutId id="2147483777" r:id="rId33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1200" kern="1200" baseline="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 baseline="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2pPr>
      <a:lvl3pPr marL="6858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 baseline="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3pPr>
      <a:lvl4pPr marL="9144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 baseline="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4pPr>
      <a:lvl5pPr marL="11430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 baseline="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76" userDrawn="1">
          <p15:clr>
            <a:srgbClr val="F26B43"/>
          </p15:clr>
        </p15:guide>
        <p15:guide id="2" pos="240" userDrawn="1">
          <p15:clr>
            <a:srgbClr val="F26B43"/>
          </p15:clr>
        </p15:guide>
        <p15:guide id="3" pos="7450" userDrawn="1">
          <p15:clr>
            <a:srgbClr val="F26B43"/>
          </p15:clr>
        </p15:guide>
        <p15:guide id="4" orient="horz" pos="113" userDrawn="1">
          <p15:clr>
            <a:srgbClr val="F26B43"/>
          </p15:clr>
        </p15:guide>
        <p15:guide id="5" orient="horz" pos="731" userDrawn="1">
          <p15:clr>
            <a:srgbClr val="F26B43"/>
          </p15:clr>
        </p15:guide>
        <p15:guide id="6" orient="horz" pos="1094" userDrawn="1">
          <p15:clr>
            <a:srgbClr val="F26B43"/>
          </p15:clr>
        </p15:guide>
        <p15:guide id="7" orient="horz" pos="951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3786" userDrawn="1">
          <p15:clr>
            <a:srgbClr val="F26B43"/>
          </p15:clr>
        </p15:guide>
        <p15:guide id="10" pos="390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3B969C-3FF8-4297-B518-77A2AA97D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08" y="2643128"/>
            <a:ext cx="7239024" cy="1005508"/>
          </a:xfrm>
        </p:spPr>
        <p:txBody>
          <a:bodyPr/>
          <a:lstStyle/>
          <a:p>
            <a:r>
              <a:rPr lang="en-IN" i="0" dirty="0">
                <a:effectLst/>
                <a:latin typeface="Arial" panose="020B0604020202020204" pitchFamily="34" charset="0"/>
              </a:rPr>
              <a:t>Competency Skill Matrix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458084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9C03F3D-DDA4-4C2D-A047-D955746C9A26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en-US" dirty="0"/>
              <a:t>Problem statement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45B1C2-A21A-4B9E-82DC-95382CA263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1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609971-B6E3-4C6F-B70C-9C6C29BCDF46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r>
              <a:rPr lang="en-US" sz="1600" dirty="0"/>
              <a:t>Architecture diagram of the application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1679A6-1000-4D63-B83A-243E9F813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2</a:t>
            </a:r>
            <a:endParaRPr lang="en-IN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666BB80-0110-4F60-BC83-71EC3A3C66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  <a:endParaRPr lang="en-IN"/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0EE92D07-285A-7801-CFAE-0695EDC4808D}"/>
              </a:ext>
            </a:extLst>
          </p:cNvPr>
          <p:cNvSpPr txBox="1">
            <a:spLocks/>
          </p:cNvSpPr>
          <p:nvPr/>
        </p:nvSpPr>
        <p:spPr>
          <a:xfrm>
            <a:off x="381000" y="3026995"/>
            <a:ext cx="11430000" cy="365760"/>
          </a:xfrm>
          <a:custGeom>
            <a:avLst/>
            <a:gdLst>
              <a:gd name="connsiteX0" fmla="*/ 102870 w 11430000"/>
              <a:gd name="connsiteY0" fmla="*/ 0 h 411480"/>
              <a:gd name="connsiteX1" fmla="*/ 11430000 w 11430000"/>
              <a:gd name="connsiteY1" fmla="*/ 0 h 411480"/>
              <a:gd name="connsiteX2" fmla="*/ 11327130 w 11430000"/>
              <a:gd name="connsiteY2" fmla="*/ 411480 h 411480"/>
              <a:gd name="connsiteX3" fmla="*/ 0 w 11430000"/>
              <a:gd name="connsiteY3" fmla="*/ 411480 h 411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11480">
                <a:moveTo>
                  <a:pt x="102870" y="0"/>
                </a:moveTo>
                <a:lnTo>
                  <a:pt x="11430000" y="0"/>
                </a:lnTo>
                <a:lnTo>
                  <a:pt x="11327130" y="411480"/>
                </a:lnTo>
                <a:lnTo>
                  <a:pt x="0" y="4114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105156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21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2100"/>
              </a:spcBef>
              <a:buFont typeface="Arial" panose="020B0604020202020204" pitchFamily="34" charset="0"/>
              <a:buNone/>
              <a:defRPr lang="en-GB" sz="1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21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21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i="0" dirty="0">
                <a:effectLst/>
              </a:rPr>
              <a:t>Technology stacks</a:t>
            </a:r>
            <a:endParaRPr lang="en-IN" dirty="0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39420CA7-B42D-DB2A-9176-5F8734DAAA77}"/>
              </a:ext>
            </a:extLst>
          </p:cNvPr>
          <p:cNvSpPr txBox="1">
            <a:spLocks/>
          </p:cNvSpPr>
          <p:nvPr/>
        </p:nvSpPr>
        <p:spPr>
          <a:xfrm>
            <a:off x="381000" y="3841026"/>
            <a:ext cx="11430000" cy="365760"/>
          </a:xfrm>
          <a:custGeom>
            <a:avLst/>
            <a:gdLst>
              <a:gd name="connsiteX0" fmla="*/ 102870 w 11430000"/>
              <a:gd name="connsiteY0" fmla="*/ 0 h 411480"/>
              <a:gd name="connsiteX1" fmla="*/ 11430000 w 11430000"/>
              <a:gd name="connsiteY1" fmla="*/ 0 h 411480"/>
              <a:gd name="connsiteX2" fmla="*/ 11327130 w 11430000"/>
              <a:gd name="connsiteY2" fmla="*/ 411480 h 411480"/>
              <a:gd name="connsiteX3" fmla="*/ 0 w 11430000"/>
              <a:gd name="connsiteY3" fmla="*/ 411480 h 411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11480">
                <a:moveTo>
                  <a:pt x="102870" y="0"/>
                </a:moveTo>
                <a:lnTo>
                  <a:pt x="11430000" y="0"/>
                </a:lnTo>
                <a:lnTo>
                  <a:pt x="11327130" y="411480"/>
                </a:lnTo>
                <a:lnTo>
                  <a:pt x="0" y="4114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105156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21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2100"/>
              </a:spcBef>
              <a:buFont typeface="Arial" panose="020B0604020202020204" pitchFamily="34" charset="0"/>
              <a:buNone/>
              <a:defRPr lang="en-GB" sz="1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21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21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cs typeface="Arial"/>
              </a:rPr>
              <a:t>Requirements &amp; Approaches</a:t>
            </a:r>
            <a:endParaRPr lang="en-IN" dirty="0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DE759FC4-4A32-683E-C8A9-893113BAB9E2}"/>
              </a:ext>
            </a:extLst>
          </p:cNvPr>
          <p:cNvSpPr txBox="1">
            <a:spLocks/>
          </p:cNvSpPr>
          <p:nvPr/>
        </p:nvSpPr>
        <p:spPr>
          <a:xfrm>
            <a:off x="381000" y="4655057"/>
            <a:ext cx="11430000" cy="365760"/>
          </a:xfrm>
          <a:custGeom>
            <a:avLst/>
            <a:gdLst>
              <a:gd name="connsiteX0" fmla="*/ 102870 w 11430000"/>
              <a:gd name="connsiteY0" fmla="*/ 0 h 411480"/>
              <a:gd name="connsiteX1" fmla="*/ 11430000 w 11430000"/>
              <a:gd name="connsiteY1" fmla="*/ 0 h 411480"/>
              <a:gd name="connsiteX2" fmla="*/ 11327130 w 11430000"/>
              <a:gd name="connsiteY2" fmla="*/ 411480 h 411480"/>
              <a:gd name="connsiteX3" fmla="*/ 0 w 11430000"/>
              <a:gd name="connsiteY3" fmla="*/ 411480 h 411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0" h="411480">
                <a:moveTo>
                  <a:pt x="102870" y="0"/>
                </a:moveTo>
                <a:lnTo>
                  <a:pt x="11430000" y="0"/>
                </a:lnTo>
                <a:lnTo>
                  <a:pt x="11327130" y="411480"/>
                </a:lnTo>
                <a:lnTo>
                  <a:pt x="0" y="4114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105156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210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2100"/>
              </a:spcBef>
              <a:buFont typeface="Arial" panose="020B0604020202020204" pitchFamily="34" charset="0"/>
              <a:buNone/>
              <a:defRPr lang="en-GB" sz="1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21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21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cs typeface="Arial"/>
              </a:rPr>
              <a:t>Screenshot</a:t>
            </a:r>
            <a:endParaRPr lang="en-IN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9C4017F-AF01-8E32-072C-B339EE04206C}"/>
              </a:ext>
            </a:extLst>
          </p:cNvPr>
          <p:cNvSpPr txBox="1">
            <a:spLocks/>
          </p:cNvSpPr>
          <p:nvPr/>
        </p:nvSpPr>
        <p:spPr>
          <a:xfrm>
            <a:off x="587106" y="2925442"/>
            <a:ext cx="731520" cy="548640"/>
          </a:xfrm>
          <a:prstGeom prst="flowChartInputOutput">
            <a:avLst/>
          </a:prstGeom>
          <a:solidFill>
            <a:schemeClr val="bg1">
              <a:lumMod val="85000"/>
            </a:schemeClr>
          </a:solidFill>
        </p:spPr>
        <p:txBody>
          <a:bodyPr vert="horz" lIns="45720" tIns="45720" rIns="4572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i="0" kern="1200" baseline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i="0" kern="1200" baseline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3</a:t>
            </a:r>
            <a:endParaRPr lang="en-IN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C0D1E0F-E86F-EAAE-069E-43FB19325CF9}"/>
              </a:ext>
            </a:extLst>
          </p:cNvPr>
          <p:cNvSpPr txBox="1">
            <a:spLocks/>
          </p:cNvSpPr>
          <p:nvPr/>
        </p:nvSpPr>
        <p:spPr>
          <a:xfrm>
            <a:off x="587106" y="3768295"/>
            <a:ext cx="731520" cy="548640"/>
          </a:xfrm>
          <a:prstGeom prst="flowChartInputOutput">
            <a:avLst/>
          </a:prstGeom>
          <a:solidFill>
            <a:schemeClr val="bg1">
              <a:lumMod val="85000"/>
            </a:schemeClr>
          </a:solidFill>
        </p:spPr>
        <p:txBody>
          <a:bodyPr vert="horz" lIns="45720" tIns="45720" rIns="4572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i="0" kern="1200" baseline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i="0" kern="1200" baseline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4</a:t>
            </a:r>
            <a:endParaRPr lang="en-IN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28EF2C2F-AC2A-F668-489B-32F8E4C6516D}"/>
              </a:ext>
            </a:extLst>
          </p:cNvPr>
          <p:cNvSpPr txBox="1">
            <a:spLocks/>
          </p:cNvSpPr>
          <p:nvPr/>
        </p:nvSpPr>
        <p:spPr>
          <a:xfrm>
            <a:off x="587106" y="4591858"/>
            <a:ext cx="731520" cy="548640"/>
          </a:xfrm>
          <a:prstGeom prst="flowChartInputOutput">
            <a:avLst/>
          </a:prstGeom>
          <a:solidFill>
            <a:schemeClr val="bg1">
              <a:lumMod val="85000"/>
            </a:schemeClr>
          </a:solidFill>
        </p:spPr>
        <p:txBody>
          <a:bodyPr vert="horz" lIns="45720" tIns="45720" rIns="4572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i="0" kern="1200" baseline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i="0" kern="1200" baseline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5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760234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0F80CF-C798-DB9C-AA62-11FA801E1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750" y="126731"/>
            <a:ext cx="9594034" cy="957600"/>
          </a:xfrm>
        </p:spPr>
        <p:txBody>
          <a:bodyPr>
            <a:noAutofit/>
          </a:bodyPr>
          <a:lstStyle/>
          <a:p>
            <a:r>
              <a:rPr lang="en-US" sz="2300" dirty="0"/>
              <a:t>Develop a Tracker for Competency Skill Matrix for the organization.</a:t>
            </a:r>
            <a:endParaRPr lang="en-IN" sz="23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5F8C7A-2A50-1665-FEFD-A16CB102A06C}"/>
              </a:ext>
            </a:extLst>
          </p:cNvPr>
          <p:cNvSpPr/>
          <p:nvPr/>
        </p:nvSpPr>
        <p:spPr>
          <a:xfrm>
            <a:off x="3321410" y="1903592"/>
            <a:ext cx="2628000" cy="13341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72000" rtlCol="0" anchor="t" anchorCtr="0"/>
          <a:lstStyle/>
          <a:p>
            <a:pPr algn="just">
              <a:lnSpc>
                <a:spcPct val="125000"/>
              </a:lnSpc>
              <a:spcAft>
                <a:spcPts val="600"/>
              </a:spcAft>
              <a:buClr>
                <a:schemeClr val="tx2"/>
              </a:buClr>
              <a:buSzPct val="100000"/>
            </a:pPr>
            <a:r>
              <a:rPr lang="en-US" sz="1200" b="0" i="0" dirty="0">
                <a:solidFill>
                  <a:schemeClr val="tx2">
                    <a:lumMod val="50000"/>
                  </a:schemeClr>
                </a:solidFill>
                <a:effectLst/>
                <a:latin typeface="+mj-lt"/>
              </a:rPr>
              <a:t>The problem statement is to create a tracker for storing Employee details along with their associated skills. Users should be able to add skills to an employee's profile within this tracker.</a:t>
            </a:r>
            <a:endParaRPr lang="en-US" sz="1200" b="1" i="0" dirty="0">
              <a:solidFill>
                <a:schemeClr val="tx2">
                  <a:lumMod val="50000"/>
                </a:schemeClr>
              </a:solidFill>
              <a:effectLst/>
              <a:latin typeface="+mj-lt"/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A726D5-36CD-FF9F-95DE-4100A3BF9495}"/>
              </a:ext>
            </a:extLst>
          </p:cNvPr>
          <p:cNvSpPr/>
          <p:nvPr/>
        </p:nvSpPr>
        <p:spPr>
          <a:xfrm>
            <a:off x="6217648" y="1916844"/>
            <a:ext cx="2628000" cy="18357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72000" rtlCol="0" anchor="t" anchorCtr="0"/>
          <a:lstStyle/>
          <a:p>
            <a:pPr algn="just">
              <a:lnSpc>
                <a:spcPct val="125000"/>
              </a:lnSpc>
              <a:spcAft>
                <a:spcPts val="600"/>
              </a:spcAft>
              <a:buClr>
                <a:schemeClr val="tx2"/>
              </a:buClr>
              <a:buSzPct val="100000"/>
            </a:pPr>
            <a:r>
              <a:rPr lang="en-US" sz="1200" dirty="0">
                <a:solidFill>
                  <a:schemeClr val="bg2"/>
                </a:solidFill>
                <a:latin typeface="+mj-lt"/>
              </a:rPr>
              <a:t>O</a:t>
            </a:r>
            <a:r>
              <a:rPr lang="en-US" sz="1200" b="0" i="0" dirty="0">
                <a:solidFill>
                  <a:schemeClr val="bg2"/>
                </a:solidFill>
                <a:effectLst/>
                <a:latin typeface="+mj-lt"/>
              </a:rPr>
              <a:t>ne approach would involve developing a user-friendly web-based for inputting and managing employee details, while also integrating a database system to store employee profiles along with their associated skills. </a:t>
            </a:r>
            <a:endParaRPr lang="en-US" sz="1200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050A5C-D833-3DB9-20F2-376FDF578034}"/>
              </a:ext>
            </a:extLst>
          </p:cNvPr>
          <p:cNvSpPr/>
          <p:nvPr/>
        </p:nvSpPr>
        <p:spPr>
          <a:xfrm>
            <a:off x="9113888" y="1903592"/>
            <a:ext cx="2628000" cy="152540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72000" rtlCol="0" anchor="t" anchorCtr="0"/>
          <a:lstStyle/>
          <a:p>
            <a:pPr algn="just">
              <a:lnSpc>
                <a:spcPct val="125000"/>
              </a:lnSpc>
              <a:spcAft>
                <a:spcPts val="600"/>
              </a:spcAft>
              <a:buClr>
                <a:schemeClr val="tx2"/>
              </a:buClr>
              <a:buSzPct val="100000"/>
            </a:pPr>
            <a:r>
              <a:rPr lang="en-US" sz="1200" b="0" i="0" dirty="0">
                <a:solidFill>
                  <a:schemeClr val="bg2">
                    <a:lumMod val="75000"/>
                  </a:schemeClr>
                </a:solidFill>
                <a:effectLst/>
                <a:latin typeface="Söhne"/>
              </a:rPr>
              <a:t>Additionally, the system should incorporate a feature allowing users to easily add skills from an employee's record as needed.</a:t>
            </a:r>
            <a:endParaRPr lang="en-US" sz="1200" b="1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6D0E6D67-AA4C-950D-6FA7-E18BD5ECF563}"/>
              </a:ext>
            </a:extLst>
          </p:cNvPr>
          <p:cNvSpPr/>
          <p:nvPr/>
        </p:nvSpPr>
        <p:spPr>
          <a:xfrm>
            <a:off x="399409" y="1903592"/>
            <a:ext cx="2839091" cy="137751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576" rIns="72000" bIns="36576" rtlCol="0" anchor="t" anchorCtr="0"/>
          <a:lstStyle/>
          <a:p>
            <a:pPr algn="just">
              <a:lnSpc>
                <a:spcPct val="125000"/>
              </a:lnSpc>
              <a:spcAft>
                <a:spcPts val="600"/>
              </a:spcAft>
            </a:pPr>
            <a:r>
              <a:rPr lang="en-US" sz="1200" b="0" i="0" dirty="0">
                <a:solidFill>
                  <a:srgbClr val="19105B"/>
                </a:solidFill>
                <a:effectLst/>
                <a:latin typeface="Arial" panose="020B0604020202020204" pitchFamily="34" charset="0"/>
              </a:rPr>
              <a:t>Create a Tracker to store the Employee details with their Skills. Allow users to add their skills</a:t>
            </a:r>
            <a:endParaRPr lang="en-US" sz="1200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sp>
        <p:nvSpPr>
          <p:cNvPr id="110" name="Text Placeholder 8">
            <a:extLst>
              <a:ext uri="{FF2B5EF4-FFF2-40B4-BE49-F238E27FC236}">
                <a16:creationId xmlns:a16="http://schemas.microsoft.com/office/drawing/2014/main" id="{47101E2F-5E9D-03F5-298C-D7E8AE48017B}"/>
              </a:ext>
            </a:extLst>
          </p:cNvPr>
          <p:cNvSpPr txBox="1">
            <a:spLocks/>
          </p:cNvSpPr>
          <p:nvPr/>
        </p:nvSpPr>
        <p:spPr>
          <a:xfrm>
            <a:off x="10513174" y="373680"/>
            <a:ext cx="1317076" cy="682598"/>
          </a:xfrm>
          <a:prstGeom prst="rect">
            <a:avLst/>
          </a:prstGeom>
          <a:noFill/>
          <a:ln>
            <a:noFill/>
          </a:ln>
        </p:spPr>
        <p:txBody>
          <a:bodyPr lIns="36000" tIns="36000" rIns="36000" bIns="36000" anchor="ctr"/>
          <a:lstStyle>
            <a:lvl1pPr marL="349250" indent="-3492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7550" indent="-3619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3619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5100" indent="-3619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Wingdings 3" panose="05040102010807070707" pitchFamily="18" charset="2"/>
              <a:buChar char="}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7050" indent="-3619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 3" panose="05040102010807070707" pitchFamily="18" charset="2"/>
              <a:buChar char="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b="1" dirty="0">
                <a:solidFill>
                  <a:schemeClr val="bg2"/>
                </a:solidFill>
                <a:cs typeface="Arial" panose="020B0604020202020204" pitchFamily="34" charset="0"/>
              </a:rPr>
              <a:t>Competency Skill Matrix</a:t>
            </a:r>
            <a:endParaRPr lang="en-US" b="1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492254B-7673-6BF9-BDDA-06DE9965EB99}"/>
              </a:ext>
            </a:extLst>
          </p:cNvPr>
          <p:cNvSpPr txBox="1"/>
          <p:nvPr/>
        </p:nvSpPr>
        <p:spPr>
          <a:xfrm>
            <a:off x="3308592" y="1486900"/>
            <a:ext cx="8559814" cy="321746"/>
          </a:xfrm>
          <a:prstGeom prst="parallelogram">
            <a:avLst/>
          </a:prstGeom>
          <a:solidFill>
            <a:schemeClr val="accent1"/>
          </a:solidFill>
        </p:spPr>
        <p:txBody>
          <a:bodyPr wrap="square" lIns="0" tIns="0" rIns="0" bIns="36000" anchor="ctr">
            <a:spAutoFit/>
          </a:bodyPr>
          <a:lstStyle/>
          <a:p>
            <a:pPr algn="ctr"/>
            <a:endParaRPr lang="en-IN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45DF6E5-EF1D-E844-4B88-F78F902515BC}"/>
              </a:ext>
            </a:extLst>
          </p:cNvPr>
          <p:cNvSpPr/>
          <p:nvPr/>
        </p:nvSpPr>
        <p:spPr>
          <a:xfrm>
            <a:off x="3343877" y="1410168"/>
            <a:ext cx="3232673" cy="4752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0E9DC1E-CC2D-7AC0-B464-0960EC84EF62}"/>
              </a:ext>
            </a:extLst>
          </p:cNvPr>
          <p:cNvSpPr txBox="1"/>
          <p:nvPr/>
        </p:nvSpPr>
        <p:spPr>
          <a:xfrm>
            <a:off x="371475" y="1512683"/>
            <a:ext cx="2924229" cy="270180"/>
          </a:xfrm>
          <a:prstGeom prst="parallelogram">
            <a:avLst/>
          </a:prstGeom>
          <a:solidFill>
            <a:schemeClr val="bg2"/>
          </a:solidFill>
        </p:spPr>
        <p:txBody>
          <a:bodyPr wrap="square" lIns="0" tIns="0" rIns="0" bIns="36000" anchor="ctr">
            <a:spAutoFit/>
          </a:bodyPr>
          <a:lstStyle/>
          <a:p>
            <a:pPr algn="ctr"/>
            <a:endParaRPr lang="en-IN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D763DBD-17FF-2110-9807-8B4343197235}"/>
              </a:ext>
            </a:extLst>
          </p:cNvPr>
          <p:cNvSpPr/>
          <p:nvPr/>
        </p:nvSpPr>
        <p:spPr>
          <a:xfrm>
            <a:off x="435223" y="1410168"/>
            <a:ext cx="5602609" cy="4752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 Statement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5883A34E-46FE-66A6-F246-68D187AB2D6F}"/>
              </a:ext>
            </a:extLst>
          </p:cNvPr>
          <p:cNvCxnSpPr>
            <a:cxnSpLocks/>
          </p:cNvCxnSpPr>
          <p:nvPr/>
        </p:nvCxnSpPr>
        <p:spPr>
          <a:xfrm>
            <a:off x="3279366" y="1929130"/>
            <a:ext cx="0" cy="1224000"/>
          </a:xfrm>
          <a:prstGeom prst="straightConnector1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4CF3EE94-DE0A-E359-8011-EDB2DD50556D}"/>
              </a:ext>
            </a:extLst>
          </p:cNvPr>
          <p:cNvCxnSpPr>
            <a:cxnSpLocks/>
          </p:cNvCxnSpPr>
          <p:nvPr/>
        </p:nvCxnSpPr>
        <p:spPr>
          <a:xfrm>
            <a:off x="6083529" y="1929130"/>
            <a:ext cx="0" cy="1224000"/>
          </a:xfrm>
          <a:prstGeom prst="straightConnector1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199FE089-4B09-ABA0-9BCC-887371A6DD8F}"/>
              </a:ext>
            </a:extLst>
          </p:cNvPr>
          <p:cNvCxnSpPr>
            <a:cxnSpLocks/>
          </p:cNvCxnSpPr>
          <p:nvPr/>
        </p:nvCxnSpPr>
        <p:spPr>
          <a:xfrm>
            <a:off x="8979768" y="1929130"/>
            <a:ext cx="0" cy="1224000"/>
          </a:xfrm>
          <a:prstGeom prst="straightConnector1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018AAFBA-6C6F-4B08-AD48-D115048C51F6}"/>
              </a:ext>
            </a:extLst>
          </p:cNvPr>
          <p:cNvSpPr/>
          <p:nvPr/>
        </p:nvSpPr>
        <p:spPr>
          <a:xfrm>
            <a:off x="431248" y="3277381"/>
            <a:ext cx="4337200" cy="4752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puts</a:t>
            </a: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44090A02-4BC0-41E2-9103-40A16D597DDA}"/>
              </a:ext>
            </a:extLst>
          </p:cNvPr>
          <p:cNvSpPr txBox="1"/>
          <p:nvPr/>
        </p:nvSpPr>
        <p:spPr>
          <a:xfrm rot="16200000">
            <a:off x="1011184" y="5063982"/>
            <a:ext cx="251672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IN" sz="600" dirty="0">
                <a:solidFill>
                  <a:schemeClr val="bg1"/>
                </a:solidFill>
              </a:rPr>
              <a:t>HTTPS</a:t>
            </a:r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8627A1C5-2288-43A6-83D3-E0C8141372A1}"/>
              </a:ext>
            </a:extLst>
          </p:cNvPr>
          <p:cNvSpPr txBox="1"/>
          <p:nvPr/>
        </p:nvSpPr>
        <p:spPr>
          <a:xfrm rot="16200000">
            <a:off x="1064083" y="4562298"/>
            <a:ext cx="145874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IN" sz="600" dirty="0">
                <a:solidFill>
                  <a:schemeClr val="bg1"/>
                </a:solidFill>
              </a:rPr>
              <a:t>SSL</a:t>
            </a:r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270" name="Freeform 19">
            <a:extLst>
              <a:ext uri="{FF2B5EF4-FFF2-40B4-BE49-F238E27FC236}">
                <a16:creationId xmlns:a16="http://schemas.microsoft.com/office/drawing/2014/main" id="{812F964F-FE22-42B3-BC51-BE7725E3FCBF}"/>
              </a:ext>
            </a:extLst>
          </p:cNvPr>
          <p:cNvSpPr>
            <a:spLocks noEditPoints="1"/>
          </p:cNvSpPr>
          <p:nvPr/>
        </p:nvSpPr>
        <p:spPr bwMode="auto">
          <a:xfrm>
            <a:off x="1080691" y="5288250"/>
            <a:ext cx="112657" cy="152778"/>
          </a:xfrm>
          <a:custGeom>
            <a:avLst/>
            <a:gdLst>
              <a:gd name="T0" fmla="*/ 156 w 184"/>
              <a:gd name="T1" fmla="*/ 80 h 251"/>
              <a:gd name="T2" fmla="*/ 152 w 184"/>
              <a:gd name="T3" fmla="*/ 80 h 251"/>
              <a:gd name="T4" fmla="*/ 152 w 184"/>
              <a:gd name="T5" fmla="*/ 47 h 251"/>
              <a:gd name="T6" fmla="*/ 104 w 184"/>
              <a:gd name="T7" fmla="*/ 0 h 251"/>
              <a:gd name="T8" fmla="*/ 80 w 184"/>
              <a:gd name="T9" fmla="*/ 0 h 251"/>
              <a:gd name="T10" fmla="*/ 32 w 184"/>
              <a:gd name="T11" fmla="*/ 47 h 251"/>
              <a:gd name="T12" fmla="*/ 32 w 184"/>
              <a:gd name="T13" fmla="*/ 80 h 251"/>
              <a:gd name="T14" fmla="*/ 28 w 184"/>
              <a:gd name="T15" fmla="*/ 80 h 251"/>
              <a:gd name="T16" fmla="*/ 0 w 184"/>
              <a:gd name="T17" fmla="*/ 108 h 251"/>
              <a:gd name="T18" fmla="*/ 0 w 184"/>
              <a:gd name="T19" fmla="*/ 223 h 251"/>
              <a:gd name="T20" fmla="*/ 28 w 184"/>
              <a:gd name="T21" fmla="*/ 251 h 251"/>
              <a:gd name="T22" fmla="*/ 156 w 184"/>
              <a:gd name="T23" fmla="*/ 251 h 251"/>
              <a:gd name="T24" fmla="*/ 184 w 184"/>
              <a:gd name="T25" fmla="*/ 223 h 251"/>
              <a:gd name="T26" fmla="*/ 184 w 184"/>
              <a:gd name="T27" fmla="*/ 108 h 251"/>
              <a:gd name="T28" fmla="*/ 156 w 184"/>
              <a:gd name="T29" fmla="*/ 80 h 251"/>
              <a:gd name="T30" fmla="*/ 97 w 184"/>
              <a:gd name="T31" fmla="*/ 198 h 251"/>
              <a:gd name="T32" fmla="*/ 97 w 184"/>
              <a:gd name="T33" fmla="*/ 222 h 251"/>
              <a:gd name="T34" fmla="*/ 86 w 184"/>
              <a:gd name="T35" fmla="*/ 222 h 251"/>
              <a:gd name="T36" fmla="*/ 86 w 184"/>
              <a:gd name="T37" fmla="*/ 197 h 251"/>
              <a:gd name="T38" fmla="*/ 77 w 184"/>
              <a:gd name="T39" fmla="*/ 183 h 251"/>
              <a:gd name="T40" fmla="*/ 92 w 184"/>
              <a:gd name="T41" fmla="*/ 168 h 251"/>
              <a:gd name="T42" fmla="*/ 107 w 184"/>
              <a:gd name="T43" fmla="*/ 183 h 251"/>
              <a:gd name="T44" fmla="*/ 97 w 184"/>
              <a:gd name="T45" fmla="*/ 198 h 251"/>
              <a:gd name="T46" fmla="*/ 132 w 184"/>
              <a:gd name="T47" fmla="*/ 80 h 251"/>
              <a:gd name="T48" fmla="*/ 52 w 184"/>
              <a:gd name="T49" fmla="*/ 80 h 251"/>
              <a:gd name="T50" fmla="*/ 52 w 184"/>
              <a:gd name="T51" fmla="*/ 47 h 251"/>
              <a:gd name="T52" fmla="*/ 80 w 184"/>
              <a:gd name="T53" fmla="*/ 19 h 251"/>
              <a:gd name="T54" fmla="*/ 104 w 184"/>
              <a:gd name="T55" fmla="*/ 19 h 251"/>
              <a:gd name="T56" fmla="*/ 132 w 184"/>
              <a:gd name="T57" fmla="*/ 47 h 251"/>
              <a:gd name="T58" fmla="*/ 132 w 184"/>
              <a:gd name="T59" fmla="*/ 80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84" h="251">
                <a:moveTo>
                  <a:pt x="156" y="80"/>
                </a:moveTo>
                <a:cubicBezTo>
                  <a:pt x="152" y="80"/>
                  <a:pt x="152" y="80"/>
                  <a:pt x="152" y="80"/>
                </a:cubicBezTo>
                <a:cubicBezTo>
                  <a:pt x="152" y="47"/>
                  <a:pt x="152" y="47"/>
                  <a:pt x="152" y="47"/>
                </a:cubicBezTo>
                <a:cubicBezTo>
                  <a:pt x="152" y="21"/>
                  <a:pt x="130" y="0"/>
                  <a:pt x="104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54" y="0"/>
                  <a:pt x="32" y="21"/>
                  <a:pt x="32" y="47"/>
                </a:cubicBezTo>
                <a:cubicBezTo>
                  <a:pt x="32" y="80"/>
                  <a:pt x="32" y="80"/>
                  <a:pt x="32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13" y="80"/>
                  <a:pt x="0" y="93"/>
                  <a:pt x="0" y="108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38"/>
                  <a:pt x="13" y="251"/>
                  <a:pt x="28" y="251"/>
                </a:cubicBezTo>
                <a:cubicBezTo>
                  <a:pt x="156" y="251"/>
                  <a:pt x="156" y="251"/>
                  <a:pt x="156" y="251"/>
                </a:cubicBezTo>
                <a:cubicBezTo>
                  <a:pt x="172" y="251"/>
                  <a:pt x="184" y="238"/>
                  <a:pt x="184" y="223"/>
                </a:cubicBezTo>
                <a:cubicBezTo>
                  <a:pt x="184" y="108"/>
                  <a:pt x="184" y="108"/>
                  <a:pt x="184" y="108"/>
                </a:cubicBezTo>
                <a:cubicBezTo>
                  <a:pt x="184" y="93"/>
                  <a:pt x="171" y="80"/>
                  <a:pt x="156" y="80"/>
                </a:cubicBezTo>
                <a:close/>
                <a:moveTo>
                  <a:pt x="97" y="198"/>
                </a:moveTo>
                <a:cubicBezTo>
                  <a:pt x="97" y="222"/>
                  <a:pt x="97" y="222"/>
                  <a:pt x="97" y="222"/>
                </a:cubicBezTo>
                <a:cubicBezTo>
                  <a:pt x="86" y="222"/>
                  <a:pt x="86" y="222"/>
                  <a:pt x="86" y="222"/>
                </a:cubicBezTo>
                <a:cubicBezTo>
                  <a:pt x="86" y="197"/>
                  <a:pt x="86" y="197"/>
                  <a:pt x="86" y="197"/>
                </a:cubicBezTo>
                <a:cubicBezTo>
                  <a:pt x="80" y="195"/>
                  <a:pt x="77" y="190"/>
                  <a:pt x="77" y="183"/>
                </a:cubicBezTo>
                <a:cubicBezTo>
                  <a:pt x="77" y="175"/>
                  <a:pt x="84" y="168"/>
                  <a:pt x="92" y="168"/>
                </a:cubicBezTo>
                <a:cubicBezTo>
                  <a:pt x="100" y="168"/>
                  <a:pt x="107" y="175"/>
                  <a:pt x="107" y="183"/>
                </a:cubicBezTo>
                <a:cubicBezTo>
                  <a:pt x="107" y="190"/>
                  <a:pt x="103" y="196"/>
                  <a:pt x="97" y="198"/>
                </a:cubicBezTo>
                <a:close/>
                <a:moveTo>
                  <a:pt x="132" y="80"/>
                </a:moveTo>
                <a:cubicBezTo>
                  <a:pt x="52" y="80"/>
                  <a:pt x="52" y="80"/>
                  <a:pt x="52" y="80"/>
                </a:cubicBezTo>
                <a:cubicBezTo>
                  <a:pt x="52" y="47"/>
                  <a:pt x="52" y="47"/>
                  <a:pt x="52" y="47"/>
                </a:cubicBezTo>
                <a:cubicBezTo>
                  <a:pt x="52" y="32"/>
                  <a:pt x="65" y="19"/>
                  <a:pt x="80" y="19"/>
                </a:cubicBezTo>
                <a:cubicBezTo>
                  <a:pt x="104" y="19"/>
                  <a:pt x="104" y="19"/>
                  <a:pt x="104" y="19"/>
                </a:cubicBezTo>
                <a:cubicBezTo>
                  <a:pt x="119" y="19"/>
                  <a:pt x="132" y="32"/>
                  <a:pt x="132" y="47"/>
                </a:cubicBezTo>
                <a:cubicBezTo>
                  <a:pt x="132" y="80"/>
                  <a:pt x="132" y="80"/>
                  <a:pt x="132" y="8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600" dirty="0"/>
          </a:p>
        </p:txBody>
      </p:sp>
      <p:sp>
        <p:nvSpPr>
          <p:cNvPr id="189" name="Freeform 29">
            <a:extLst>
              <a:ext uri="{FF2B5EF4-FFF2-40B4-BE49-F238E27FC236}">
                <a16:creationId xmlns:a16="http://schemas.microsoft.com/office/drawing/2014/main" id="{1D24C163-F3AA-42C5-AC04-722DCEC666F1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794217" y="4379377"/>
            <a:ext cx="136696" cy="135578"/>
          </a:xfrm>
          <a:custGeom>
            <a:avLst/>
            <a:gdLst>
              <a:gd name="T0" fmla="*/ 328 w 384"/>
              <a:gd name="T1" fmla="*/ 0 h 384"/>
              <a:gd name="T2" fmla="*/ 384 w 384"/>
              <a:gd name="T3" fmla="*/ 56 h 384"/>
              <a:gd name="T4" fmla="*/ 380 w 384"/>
              <a:gd name="T5" fmla="*/ 82 h 384"/>
              <a:gd name="T6" fmla="*/ 328 w 384"/>
              <a:gd name="T7" fmla="*/ 192 h 384"/>
              <a:gd name="T8" fmla="*/ 277 w 384"/>
              <a:gd name="T9" fmla="*/ 82 h 384"/>
              <a:gd name="T10" fmla="*/ 272 w 384"/>
              <a:gd name="T11" fmla="*/ 56 h 384"/>
              <a:gd name="T12" fmla="*/ 328 w 384"/>
              <a:gd name="T13" fmla="*/ 0 h 384"/>
              <a:gd name="T14" fmla="*/ 328 w 384"/>
              <a:gd name="T15" fmla="*/ 32 h 384"/>
              <a:gd name="T16" fmla="*/ 304 w 384"/>
              <a:gd name="T17" fmla="*/ 56 h 384"/>
              <a:gd name="T18" fmla="*/ 328 w 384"/>
              <a:gd name="T19" fmla="*/ 80 h 384"/>
              <a:gd name="T20" fmla="*/ 352 w 384"/>
              <a:gd name="T21" fmla="*/ 56 h 384"/>
              <a:gd name="T22" fmla="*/ 328 w 384"/>
              <a:gd name="T23" fmla="*/ 32 h 384"/>
              <a:gd name="T24" fmla="*/ 64 w 384"/>
              <a:gd name="T25" fmla="*/ 168 h 384"/>
              <a:gd name="T26" fmla="*/ 128 w 384"/>
              <a:gd name="T27" fmla="*/ 232 h 384"/>
              <a:gd name="T28" fmla="*/ 123 w 384"/>
              <a:gd name="T29" fmla="*/ 260 h 384"/>
              <a:gd name="T30" fmla="*/ 64 w 384"/>
              <a:gd name="T31" fmla="*/ 384 h 384"/>
              <a:gd name="T32" fmla="*/ 5 w 384"/>
              <a:gd name="T33" fmla="*/ 260 h 384"/>
              <a:gd name="T34" fmla="*/ 0 w 384"/>
              <a:gd name="T35" fmla="*/ 232 h 384"/>
              <a:gd name="T36" fmla="*/ 64 w 384"/>
              <a:gd name="T37" fmla="*/ 168 h 384"/>
              <a:gd name="T38" fmla="*/ 313 w 384"/>
              <a:gd name="T39" fmla="*/ 179 h 384"/>
              <a:gd name="T40" fmla="*/ 320 w 384"/>
              <a:gd name="T41" fmla="*/ 194 h 384"/>
              <a:gd name="T42" fmla="*/ 224 w 384"/>
              <a:gd name="T43" fmla="*/ 232 h 384"/>
              <a:gd name="T44" fmla="*/ 217 w 384"/>
              <a:gd name="T45" fmla="*/ 253 h 384"/>
              <a:gd name="T46" fmla="*/ 221 w 384"/>
              <a:gd name="T47" fmla="*/ 280 h 384"/>
              <a:gd name="T48" fmla="*/ 222 w 384"/>
              <a:gd name="T49" fmla="*/ 310 h 384"/>
              <a:gd name="T50" fmla="*/ 205 w 384"/>
              <a:gd name="T51" fmla="*/ 341 h 384"/>
              <a:gd name="T52" fmla="*/ 73 w 384"/>
              <a:gd name="T53" fmla="*/ 383 h 384"/>
              <a:gd name="T54" fmla="*/ 82 w 384"/>
              <a:gd name="T55" fmla="*/ 365 h 384"/>
              <a:gd name="T56" fmla="*/ 194 w 384"/>
              <a:gd name="T57" fmla="*/ 329 h 384"/>
              <a:gd name="T58" fmla="*/ 206 w 384"/>
              <a:gd name="T59" fmla="*/ 308 h 384"/>
              <a:gd name="T60" fmla="*/ 205 w 384"/>
              <a:gd name="T61" fmla="*/ 283 h 384"/>
              <a:gd name="T62" fmla="*/ 201 w 384"/>
              <a:gd name="T63" fmla="*/ 253 h 384"/>
              <a:gd name="T64" fmla="*/ 211 w 384"/>
              <a:gd name="T65" fmla="*/ 222 h 384"/>
              <a:gd name="T66" fmla="*/ 313 w 384"/>
              <a:gd name="T67" fmla="*/ 179 h 384"/>
              <a:gd name="T68" fmla="*/ 64 w 384"/>
              <a:gd name="T69" fmla="*/ 204 h 384"/>
              <a:gd name="T70" fmla="*/ 36 w 384"/>
              <a:gd name="T71" fmla="*/ 232 h 384"/>
              <a:gd name="T72" fmla="*/ 64 w 384"/>
              <a:gd name="T73" fmla="*/ 260 h 384"/>
              <a:gd name="T74" fmla="*/ 92 w 384"/>
              <a:gd name="T75" fmla="*/ 232 h 384"/>
              <a:gd name="T76" fmla="*/ 64 w 384"/>
              <a:gd name="T77" fmla="*/ 204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84" h="384">
                <a:moveTo>
                  <a:pt x="328" y="0"/>
                </a:moveTo>
                <a:cubicBezTo>
                  <a:pt x="359" y="0"/>
                  <a:pt x="384" y="24"/>
                  <a:pt x="384" y="56"/>
                </a:cubicBezTo>
                <a:cubicBezTo>
                  <a:pt x="384" y="63"/>
                  <a:pt x="382" y="75"/>
                  <a:pt x="380" y="82"/>
                </a:cubicBezTo>
                <a:cubicBezTo>
                  <a:pt x="328" y="192"/>
                  <a:pt x="328" y="192"/>
                  <a:pt x="328" y="192"/>
                </a:cubicBezTo>
                <a:cubicBezTo>
                  <a:pt x="277" y="82"/>
                  <a:pt x="277" y="82"/>
                  <a:pt x="277" y="82"/>
                </a:cubicBezTo>
                <a:cubicBezTo>
                  <a:pt x="274" y="75"/>
                  <a:pt x="272" y="63"/>
                  <a:pt x="272" y="56"/>
                </a:cubicBezTo>
                <a:cubicBezTo>
                  <a:pt x="272" y="24"/>
                  <a:pt x="297" y="0"/>
                  <a:pt x="328" y="0"/>
                </a:cubicBezTo>
                <a:close/>
                <a:moveTo>
                  <a:pt x="328" y="32"/>
                </a:moveTo>
                <a:cubicBezTo>
                  <a:pt x="315" y="32"/>
                  <a:pt x="304" y="43"/>
                  <a:pt x="304" y="56"/>
                </a:cubicBezTo>
                <a:cubicBezTo>
                  <a:pt x="304" y="69"/>
                  <a:pt x="315" y="80"/>
                  <a:pt x="328" y="80"/>
                </a:cubicBezTo>
                <a:cubicBezTo>
                  <a:pt x="341" y="80"/>
                  <a:pt x="352" y="69"/>
                  <a:pt x="352" y="56"/>
                </a:cubicBezTo>
                <a:cubicBezTo>
                  <a:pt x="352" y="43"/>
                  <a:pt x="341" y="32"/>
                  <a:pt x="328" y="32"/>
                </a:cubicBezTo>
                <a:close/>
                <a:moveTo>
                  <a:pt x="64" y="168"/>
                </a:moveTo>
                <a:cubicBezTo>
                  <a:pt x="99" y="168"/>
                  <a:pt x="128" y="196"/>
                  <a:pt x="128" y="232"/>
                </a:cubicBezTo>
                <a:cubicBezTo>
                  <a:pt x="128" y="240"/>
                  <a:pt x="126" y="253"/>
                  <a:pt x="123" y="260"/>
                </a:cubicBezTo>
                <a:cubicBezTo>
                  <a:pt x="64" y="384"/>
                  <a:pt x="64" y="384"/>
                  <a:pt x="64" y="384"/>
                </a:cubicBezTo>
                <a:cubicBezTo>
                  <a:pt x="5" y="260"/>
                  <a:pt x="5" y="260"/>
                  <a:pt x="5" y="260"/>
                </a:cubicBezTo>
                <a:cubicBezTo>
                  <a:pt x="2" y="253"/>
                  <a:pt x="0" y="240"/>
                  <a:pt x="0" y="232"/>
                </a:cubicBezTo>
                <a:cubicBezTo>
                  <a:pt x="0" y="196"/>
                  <a:pt x="29" y="168"/>
                  <a:pt x="64" y="168"/>
                </a:cubicBezTo>
                <a:close/>
                <a:moveTo>
                  <a:pt x="313" y="179"/>
                </a:moveTo>
                <a:cubicBezTo>
                  <a:pt x="320" y="194"/>
                  <a:pt x="320" y="194"/>
                  <a:pt x="320" y="194"/>
                </a:cubicBezTo>
                <a:cubicBezTo>
                  <a:pt x="260" y="204"/>
                  <a:pt x="234" y="218"/>
                  <a:pt x="224" y="232"/>
                </a:cubicBezTo>
                <a:cubicBezTo>
                  <a:pt x="219" y="239"/>
                  <a:pt x="217" y="245"/>
                  <a:pt x="217" y="253"/>
                </a:cubicBezTo>
                <a:cubicBezTo>
                  <a:pt x="217" y="261"/>
                  <a:pt x="219" y="270"/>
                  <a:pt x="221" y="280"/>
                </a:cubicBezTo>
                <a:cubicBezTo>
                  <a:pt x="222" y="289"/>
                  <a:pt x="224" y="300"/>
                  <a:pt x="222" y="310"/>
                </a:cubicBezTo>
                <a:cubicBezTo>
                  <a:pt x="221" y="321"/>
                  <a:pt x="215" y="332"/>
                  <a:pt x="205" y="341"/>
                </a:cubicBezTo>
                <a:cubicBezTo>
                  <a:pt x="185" y="359"/>
                  <a:pt x="147" y="373"/>
                  <a:pt x="73" y="383"/>
                </a:cubicBezTo>
                <a:cubicBezTo>
                  <a:pt x="82" y="365"/>
                  <a:pt x="82" y="365"/>
                  <a:pt x="82" y="365"/>
                </a:cubicBezTo>
                <a:cubicBezTo>
                  <a:pt x="147" y="355"/>
                  <a:pt x="179" y="342"/>
                  <a:pt x="194" y="329"/>
                </a:cubicBezTo>
                <a:cubicBezTo>
                  <a:pt x="202" y="322"/>
                  <a:pt x="205" y="315"/>
                  <a:pt x="206" y="308"/>
                </a:cubicBezTo>
                <a:cubicBezTo>
                  <a:pt x="208" y="300"/>
                  <a:pt x="207" y="292"/>
                  <a:pt x="205" y="283"/>
                </a:cubicBezTo>
                <a:cubicBezTo>
                  <a:pt x="203" y="273"/>
                  <a:pt x="201" y="264"/>
                  <a:pt x="201" y="253"/>
                </a:cubicBezTo>
                <a:cubicBezTo>
                  <a:pt x="201" y="243"/>
                  <a:pt x="204" y="232"/>
                  <a:pt x="211" y="222"/>
                </a:cubicBezTo>
                <a:cubicBezTo>
                  <a:pt x="226" y="204"/>
                  <a:pt x="255" y="189"/>
                  <a:pt x="313" y="179"/>
                </a:cubicBezTo>
                <a:close/>
                <a:moveTo>
                  <a:pt x="64" y="204"/>
                </a:moveTo>
                <a:cubicBezTo>
                  <a:pt x="49" y="204"/>
                  <a:pt x="36" y="217"/>
                  <a:pt x="36" y="232"/>
                </a:cubicBezTo>
                <a:cubicBezTo>
                  <a:pt x="36" y="247"/>
                  <a:pt x="49" y="260"/>
                  <a:pt x="64" y="260"/>
                </a:cubicBezTo>
                <a:cubicBezTo>
                  <a:pt x="79" y="260"/>
                  <a:pt x="92" y="247"/>
                  <a:pt x="92" y="232"/>
                </a:cubicBezTo>
                <a:cubicBezTo>
                  <a:pt x="92" y="217"/>
                  <a:pt x="79" y="204"/>
                  <a:pt x="64" y="20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600" dirty="0"/>
          </a:p>
        </p:txBody>
      </p: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E62E007B-4A78-4B85-BA4F-C33DBA71C7A4}"/>
              </a:ext>
            </a:extLst>
          </p:cNvPr>
          <p:cNvGrpSpPr/>
          <p:nvPr/>
        </p:nvGrpSpPr>
        <p:grpSpPr>
          <a:xfrm>
            <a:off x="1422805" y="4380351"/>
            <a:ext cx="153975" cy="121270"/>
            <a:chOff x="457290" y="1638300"/>
            <a:chExt cx="324423" cy="255516"/>
          </a:xfrm>
        </p:grpSpPr>
        <p:sp>
          <p:nvSpPr>
            <p:cNvPr id="264" name="Freeform 29">
              <a:extLst>
                <a:ext uri="{FF2B5EF4-FFF2-40B4-BE49-F238E27FC236}">
                  <a16:creationId xmlns:a16="http://schemas.microsoft.com/office/drawing/2014/main" id="{93E4DF7B-766C-4C0E-8078-383EA6E451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290" y="1759464"/>
              <a:ext cx="240020" cy="101382"/>
            </a:xfrm>
            <a:custGeom>
              <a:avLst/>
              <a:gdLst>
                <a:gd name="T0" fmla="*/ 0 w 640"/>
                <a:gd name="T1" fmla="*/ 108 h 271"/>
                <a:gd name="T2" fmla="*/ 8 w 640"/>
                <a:gd name="T3" fmla="*/ 90 h 271"/>
                <a:gd name="T4" fmla="*/ 122 w 640"/>
                <a:gd name="T5" fmla="*/ 4 h 271"/>
                <a:gd name="T6" fmla="*/ 250 w 640"/>
                <a:gd name="T7" fmla="*/ 78 h 271"/>
                <a:gd name="T8" fmla="*/ 282 w 640"/>
                <a:gd name="T9" fmla="*/ 97 h 271"/>
                <a:gd name="T10" fmla="*/ 612 w 640"/>
                <a:gd name="T11" fmla="*/ 97 h 271"/>
                <a:gd name="T12" fmla="*/ 640 w 640"/>
                <a:gd name="T13" fmla="*/ 97 h 271"/>
                <a:gd name="T14" fmla="*/ 640 w 640"/>
                <a:gd name="T15" fmla="*/ 210 h 271"/>
                <a:gd name="T16" fmla="*/ 566 w 640"/>
                <a:gd name="T17" fmla="*/ 210 h 271"/>
                <a:gd name="T18" fmla="*/ 564 w 640"/>
                <a:gd name="T19" fmla="*/ 175 h 271"/>
                <a:gd name="T20" fmla="*/ 544 w 640"/>
                <a:gd name="T21" fmla="*/ 174 h 271"/>
                <a:gd name="T22" fmla="*/ 278 w 640"/>
                <a:gd name="T23" fmla="*/ 174 h 271"/>
                <a:gd name="T24" fmla="*/ 253 w 640"/>
                <a:gd name="T25" fmla="*/ 187 h 271"/>
                <a:gd name="T26" fmla="*/ 117 w 640"/>
                <a:gd name="T27" fmla="*/ 266 h 271"/>
                <a:gd name="T28" fmla="*/ 4 w 640"/>
                <a:gd name="T29" fmla="*/ 168 h 271"/>
                <a:gd name="T30" fmla="*/ 0 w 640"/>
                <a:gd name="T31" fmla="*/ 162 h 271"/>
                <a:gd name="T32" fmla="*/ 0 w 640"/>
                <a:gd name="T33" fmla="*/ 108 h 271"/>
                <a:gd name="T34" fmla="*/ 132 w 640"/>
                <a:gd name="T35" fmla="*/ 190 h 271"/>
                <a:gd name="T36" fmla="*/ 187 w 640"/>
                <a:gd name="T37" fmla="*/ 135 h 271"/>
                <a:gd name="T38" fmla="*/ 132 w 640"/>
                <a:gd name="T39" fmla="*/ 80 h 271"/>
                <a:gd name="T40" fmla="*/ 76 w 640"/>
                <a:gd name="T41" fmla="*/ 135 h 271"/>
                <a:gd name="T42" fmla="*/ 132 w 640"/>
                <a:gd name="T43" fmla="*/ 19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0" h="271">
                  <a:moveTo>
                    <a:pt x="0" y="108"/>
                  </a:moveTo>
                  <a:cubicBezTo>
                    <a:pt x="3" y="102"/>
                    <a:pt x="5" y="96"/>
                    <a:pt x="8" y="90"/>
                  </a:cubicBezTo>
                  <a:cubicBezTo>
                    <a:pt x="29" y="39"/>
                    <a:pt x="66" y="9"/>
                    <a:pt x="122" y="4"/>
                  </a:cubicBezTo>
                  <a:cubicBezTo>
                    <a:pt x="180" y="0"/>
                    <a:pt x="224" y="26"/>
                    <a:pt x="250" y="78"/>
                  </a:cubicBezTo>
                  <a:cubicBezTo>
                    <a:pt x="258" y="93"/>
                    <a:pt x="266" y="98"/>
                    <a:pt x="282" y="97"/>
                  </a:cubicBezTo>
                  <a:cubicBezTo>
                    <a:pt x="392" y="97"/>
                    <a:pt x="502" y="97"/>
                    <a:pt x="612" y="97"/>
                  </a:cubicBezTo>
                  <a:cubicBezTo>
                    <a:pt x="620" y="97"/>
                    <a:pt x="629" y="97"/>
                    <a:pt x="640" y="97"/>
                  </a:cubicBezTo>
                  <a:cubicBezTo>
                    <a:pt x="640" y="136"/>
                    <a:pt x="640" y="173"/>
                    <a:pt x="640" y="210"/>
                  </a:cubicBezTo>
                  <a:cubicBezTo>
                    <a:pt x="615" y="210"/>
                    <a:pt x="591" y="210"/>
                    <a:pt x="566" y="210"/>
                  </a:cubicBezTo>
                  <a:cubicBezTo>
                    <a:pt x="565" y="199"/>
                    <a:pt x="564" y="188"/>
                    <a:pt x="564" y="175"/>
                  </a:cubicBezTo>
                  <a:cubicBezTo>
                    <a:pt x="557" y="175"/>
                    <a:pt x="551" y="174"/>
                    <a:pt x="544" y="174"/>
                  </a:cubicBezTo>
                  <a:cubicBezTo>
                    <a:pt x="455" y="174"/>
                    <a:pt x="367" y="174"/>
                    <a:pt x="278" y="174"/>
                  </a:cubicBezTo>
                  <a:cubicBezTo>
                    <a:pt x="267" y="173"/>
                    <a:pt x="259" y="174"/>
                    <a:pt x="253" y="187"/>
                  </a:cubicBezTo>
                  <a:cubicBezTo>
                    <a:pt x="225" y="245"/>
                    <a:pt x="180" y="271"/>
                    <a:pt x="117" y="266"/>
                  </a:cubicBezTo>
                  <a:cubicBezTo>
                    <a:pt x="66" y="263"/>
                    <a:pt x="23" y="226"/>
                    <a:pt x="4" y="168"/>
                  </a:cubicBezTo>
                  <a:cubicBezTo>
                    <a:pt x="3" y="166"/>
                    <a:pt x="1" y="164"/>
                    <a:pt x="0" y="162"/>
                  </a:cubicBezTo>
                  <a:cubicBezTo>
                    <a:pt x="0" y="144"/>
                    <a:pt x="0" y="126"/>
                    <a:pt x="0" y="108"/>
                  </a:cubicBezTo>
                  <a:close/>
                  <a:moveTo>
                    <a:pt x="132" y="190"/>
                  </a:moveTo>
                  <a:cubicBezTo>
                    <a:pt x="164" y="190"/>
                    <a:pt x="187" y="168"/>
                    <a:pt x="187" y="135"/>
                  </a:cubicBezTo>
                  <a:cubicBezTo>
                    <a:pt x="187" y="103"/>
                    <a:pt x="164" y="80"/>
                    <a:pt x="132" y="80"/>
                  </a:cubicBezTo>
                  <a:cubicBezTo>
                    <a:pt x="100" y="80"/>
                    <a:pt x="77" y="103"/>
                    <a:pt x="76" y="135"/>
                  </a:cubicBezTo>
                  <a:cubicBezTo>
                    <a:pt x="76" y="167"/>
                    <a:pt x="99" y="190"/>
                    <a:pt x="132" y="19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 dirty="0"/>
            </a:p>
          </p:txBody>
        </p:sp>
        <p:sp>
          <p:nvSpPr>
            <p:cNvPr id="265" name="Freeform 30">
              <a:extLst>
                <a:ext uri="{FF2B5EF4-FFF2-40B4-BE49-F238E27FC236}">
                  <a16:creationId xmlns:a16="http://schemas.microsoft.com/office/drawing/2014/main" id="{FA333F74-44BB-448B-AC5A-42670D6DF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31" y="1638300"/>
              <a:ext cx="182982" cy="255516"/>
            </a:xfrm>
            <a:custGeom>
              <a:avLst/>
              <a:gdLst>
                <a:gd name="T0" fmla="*/ 0 w 488"/>
                <a:gd name="T1" fmla="*/ 536 h 683"/>
                <a:gd name="T2" fmla="*/ 11 w 488"/>
                <a:gd name="T3" fmla="*/ 534 h 683"/>
                <a:gd name="T4" fmla="*/ 75 w 488"/>
                <a:gd name="T5" fmla="*/ 534 h 683"/>
                <a:gd name="T6" fmla="*/ 75 w 488"/>
                <a:gd name="T7" fmla="*/ 570 h 683"/>
                <a:gd name="T8" fmla="*/ 75 w 488"/>
                <a:gd name="T9" fmla="*/ 607 h 683"/>
                <a:gd name="T10" fmla="*/ 412 w 488"/>
                <a:gd name="T11" fmla="*/ 607 h 683"/>
                <a:gd name="T12" fmla="*/ 412 w 488"/>
                <a:gd name="T13" fmla="*/ 312 h 683"/>
                <a:gd name="T14" fmla="*/ 75 w 488"/>
                <a:gd name="T15" fmla="*/ 312 h 683"/>
                <a:gd name="T16" fmla="*/ 75 w 488"/>
                <a:gd name="T17" fmla="*/ 383 h 683"/>
                <a:gd name="T18" fmla="*/ 0 w 488"/>
                <a:gd name="T19" fmla="*/ 383 h 683"/>
                <a:gd name="T20" fmla="*/ 0 w 488"/>
                <a:gd name="T21" fmla="*/ 235 h 683"/>
                <a:gd name="T22" fmla="*/ 316 w 488"/>
                <a:gd name="T23" fmla="*/ 235 h 683"/>
                <a:gd name="T24" fmla="*/ 315 w 488"/>
                <a:gd name="T25" fmla="*/ 144 h 683"/>
                <a:gd name="T26" fmla="*/ 241 w 488"/>
                <a:gd name="T27" fmla="*/ 84 h 683"/>
                <a:gd name="T28" fmla="*/ 163 w 488"/>
                <a:gd name="T29" fmla="*/ 143 h 683"/>
                <a:gd name="T30" fmla="*/ 158 w 488"/>
                <a:gd name="T31" fmla="*/ 164 h 683"/>
                <a:gd name="T32" fmla="*/ 84 w 488"/>
                <a:gd name="T33" fmla="*/ 164 h 683"/>
                <a:gd name="T34" fmla="*/ 86 w 488"/>
                <a:gd name="T35" fmla="*/ 135 h 683"/>
                <a:gd name="T36" fmla="*/ 257 w 488"/>
                <a:gd name="T37" fmla="*/ 8 h 683"/>
                <a:gd name="T38" fmla="*/ 395 w 488"/>
                <a:gd name="T39" fmla="*/ 169 h 683"/>
                <a:gd name="T40" fmla="*/ 395 w 488"/>
                <a:gd name="T41" fmla="*/ 233 h 683"/>
                <a:gd name="T42" fmla="*/ 488 w 488"/>
                <a:gd name="T43" fmla="*/ 233 h 683"/>
                <a:gd name="T44" fmla="*/ 488 w 488"/>
                <a:gd name="T45" fmla="*/ 683 h 683"/>
                <a:gd name="T46" fmla="*/ 0 w 488"/>
                <a:gd name="T47" fmla="*/ 683 h 683"/>
                <a:gd name="T48" fmla="*/ 0 w 488"/>
                <a:gd name="T49" fmla="*/ 536 h 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8" h="683">
                  <a:moveTo>
                    <a:pt x="0" y="536"/>
                  </a:moveTo>
                  <a:cubicBezTo>
                    <a:pt x="4" y="535"/>
                    <a:pt x="7" y="534"/>
                    <a:pt x="11" y="534"/>
                  </a:cubicBezTo>
                  <a:cubicBezTo>
                    <a:pt x="31" y="534"/>
                    <a:pt x="51" y="534"/>
                    <a:pt x="75" y="534"/>
                  </a:cubicBezTo>
                  <a:cubicBezTo>
                    <a:pt x="75" y="547"/>
                    <a:pt x="75" y="559"/>
                    <a:pt x="75" y="570"/>
                  </a:cubicBezTo>
                  <a:cubicBezTo>
                    <a:pt x="75" y="582"/>
                    <a:pt x="75" y="594"/>
                    <a:pt x="75" y="607"/>
                  </a:cubicBezTo>
                  <a:cubicBezTo>
                    <a:pt x="188" y="607"/>
                    <a:pt x="299" y="607"/>
                    <a:pt x="412" y="607"/>
                  </a:cubicBezTo>
                  <a:cubicBezTo>
                    <a:pt x="412" y="510"/>
                    <a:pt x="412" y="412"/>
                    <a:pt x="412" y="312"/>
                  </a:cubicBezTo>
                  <a:cubicBezTo>
                    <a:pt x="301" y="312"/>
                    <a:pt x="189" y="312"/>
                    <a:pt x="75" y="312"/>
                  </a:cubicBezTo>
                  <a:cubicBezTo>
                    <a:pt x="75" y="335"/>
                    <a:pt x="75" y="358"/>
                    <a:pt x="75" y="383"/>
                  </a:cubicBezTo>
                  <a:cubicBezTo>
                    <a:pt x="49" y="383"/>
                    <a:pt x="25" y="383"/>
                    <a:pt x="0" y="383"/>
                  </a:cubicBezTo>
                  <a:cubicBezTo>
                    <a:pt x="0" y="334"/>
                    <a:pt x="0" y="285"/>
                    <a:pt x="0" y="235"/>
                  </a:cubicBezTo>
                  <a:cubicBezTo>
                    <a:pt x="105" y="235"/>
                    <a:pt x="210" y="235"/>
                    <a:pt x="316" y="235"/>
                  </a:cubicBezTo>
                  <a:cubicBezTo>
                    <a:pt x="316" y="203"/>
                    <a:pt x="320" y="173"/>
                    <a:pt x="315" y="144"/>
                  </a:cubicBezTo>
                  <a:cubicBezTo>
                    <a:pt x="309" y="107"/>
                    <a:pt x="277" y="84"/>
                    <a:pt x="241" y="84"/>
                  </a:cubicBezTo>
                  <a:cubicBezTo>
                    <a:pt x="203" y="84"/>
                    <a:pt x="173" y="106"/>
                    <a:pt x="163" y="143"/>
                  </a:cubicBezTo>
                  <a:cubicBezTo>
                    <a:pt x="161" y="149"/>
                    <a:pt x="160" y="156"/>
                    <a:pt x="158" y="164"/>
                  </a:cubicBezTo>
                  <a:cubicBezTo>
                    <a:pt x="135" y="164"/>
                    <a:pt x="111" y="164"/>
                    <a:pt x="84" y="164"/>
                  </a:cubicBezTo>
                  <a:cubicBezTo>
                    <a:pt x="85" y="154"/>
                    <a:pt x="84" y="144"/>
                    <a:pt x="86" y="135"/>
                  </a:cubicBezTo>
                  <a:cubicBezTo>
                    <a:pt x="104" y="52"/>
                    <a:pt x="174" y="0"/>
                    <a:pt x="257" y="8"/>
                  </a:cubicBezTo>
                  <a:cubicBezTo>
                    <a:pt x="335" y="15"/>
                    <a:pt x="395" y="85"/>
                    <a:pt x="395" y="169"/>
                  </a:cubicBezTo>
                  <a:cubicBezTo>
                    <a:pt x="395" y="190"/>
                    <a:pt x="395" y="210"/>
                    <a:pt x="395" y="233"/>
                  </a:cubicBezTo>
                  <a:cubicBezTo>
                    <a:pt x="427" y="233"/>
                    <a:pt x="457" y="233"/>
                    <a:pt x="488" y="233"/>
                  </a:cubicBezTo>
                  <a:cubicBezTo>
                    <a:pt x="488" y="384"/>
                    <a:pt x="488" y="533"/>
                    <a:pt x="488" y="683"/>
                  </a:cubicBezTo>
                  <a:cubicBezTo>
                    <a:pt x="326" y="683"/>
                    <a:pt x="163" y="683"/>
                    <a:pt x="0" y="683"/>
                  </a:cubicBezTo>
                  <a:cubicBezTo>
                    <a:pt x="0" y="634"/>
                    <a:pt x="0" y="586"/>
                    <a:pt x="0" y="5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 dirty="0"/>
            </a:p>
          </p:txBody>
        </p:sp>
      </p:grpSp>
      <p:sp>
        <p:nvSpPr>
          <p:cNvPr id="212" name="TextBox 211">
            <a:extLst>
              <a:ext uri="{FF2B5EF4-FFF2-40B4-BE49-F238E27FC236}">
                <a16:creationId xmlns:a16="http://schemas.microsoft.com/office/drawing/2014/main" id="{DA5EBAE2-F6C6-4300-B31B-12462D4C8D33}"/>
              </a:ext>
            </a:extLst>
          </p:cNvPr>
          <p:cNvSpPr txBox="1"/>
          <p:nvPr/>
        </p:nvSpPr>
        <p:spPr>
          <a:xfrm>
            <a:off x="2512768" y="4654554"/>
            <a:ext cx="7019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600" dirty="0">
                <a:solidFill>
                  <a:schemeClr val="bg1"/>
                </a:solidFill>
              </a:rPr>
              <a:t>BLADE</a:t>
            </a:r>
            <a:br>
              <a:rPr lang="en-IN" sz="600" dirty="0">
                <a:solidFill>
                  <a:schemeClr val="bg1"/>
                </a:solidFill>
              </a:rPr>
            </a:br>
            <a:r>
              <a:rPr lang="en-IN" sz="600" dirty="0">
                <a:solidFill>
                  <a:schemeClr val="bg1"/>
                </a:solidFill>
              </a:rPr>
              <a:t>TEMPLATE VIEWS</a:t>
            </a:r>
            <a:endParaRPr lang="en-GB" sz="600" dirty="0">
              <a:solidFill>
                <a:schemeClr val="bg1"/>
              </a:solidFill>
            </a:endParaRPr>
          </a:p>
        </p:txBody>
      </p: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6761D209-8CF0-494E-B4F1-D97D3A6E9D9C}"/>
              </a:ext>
            </a:extLst>
          </p:cNvPr>
          <p:cNvGrpSpPr/>
          <p:nvPr/>
        </p:nvGrpSpPr>
        <p:grpSpPr>
          <a:xfrm>
            <a:off x="2692957" y="4402876"/>
            <a:ext cx="341592" cy="186819"/>
            <a:chOff x="-4730750" y="2516188"/>
            <a:chExt cx="1387475" cy="758825"/>
          </a:xfrm>
          <a:solidFill>
            <a:schemeClr val="bg1"/>
          </a:solidFill>
        </p:grpSpPr>
        <p:sp>
          <p:nvSpPr>
            <p:cNvPr id="236" name="Freeform 34">
              <a:extLst>
                <a:ext uri="{FF2B5EF4-FFF2-40B4-BE49-F238E27FC236}">
                  <a16:creationId xmlns:a16="http://schemas.microsoft.com/office/drawing/2014/main" id="{412111CF-9ED1-4A86-8181-9852F76177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730750" y="2516188"/>
              <a:ext cx="1387475" cy="758825"/>
            </a:xfrm>
            <a:custGeom>
              <a:avLst/>
              <a:gdLst>
                <a:gd name="T0" fmla="*/ 379 w 382"/>
                <a:gd name="T1" fmla="*/ 96 h 208"/>
                <a:gd name="T2" fmla="*/ 191 w 382"/>
                <a:gd name="T3" fmla="*/ 0 h 208"/>
                <a:gd name="T4" fmla="*/ 3 w 382"/>
                <a:gd name="T5" fmla="*/ 96 h 208"/>
                <a:gd name="T6" fmla="*/ 3 w 382"/>
                <a:gd name="T7" fmla="*/ 112 h 208"/>
                <a:gd name="T8" fmla="*/ 191 w 382"/>
                <a:gd name="T9" fmla="*/ 208 h 208"/>
                <a:gd name="T10" fmla="*/ 379 w 382"/>
                <a:gd name="T11" fmla="*/ 112 h 208"/>
                <a:gd name="T12" fmla="*/ 379 w 382"/>
                <a:gd name="T13" fmla="*/ 96 h 208"/>
                <a:gd name="T14" fmla="*/ 191 w 382"/>
                <a:gd name="T15" fmla="*/ 181 h 208"/>
                <a:gd name="T16" fmla="*/ 114 w 382"/>
                <a:gd name="T17" fmla="*/ 104 h 208"/>
                <a:gd name="T18" fmla="*/ 191 w 382"/>
                <a:gd name="T19" fmla="*/ 27 h 208"/>
                <a:gd name="T20" fmla="*/ 268 w 382"/>
                <a:gd name="T21" fmla="*/ 104 h 208"/>
                <a:gd name="T22" fmla="*/ 191 w 382"/>
                <a:gd name="T23" fmla="*/ 181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2" h="208">
                  <a:moveTo>
                    <a:pt x="379" y="96"/>
                  </a:moveTo>
                  <a:cubicBezTo>
                    <a:pt x="360" y="72"/>
                    <a:pt x="296" y="0"/>
                    <a:pt x="191" y="0"/>
                  </a:cubicBezTo>
                  <a:cubicBezTo>
                    <a:pt x="86" y="0"/>
                    <a:pt x="22" y="72"/>
                    <a:pt x="3" y="96"/>
                  </a:cubicBezTo>
                  <a:cubicBezTo>
                    <a:pt x="0" y="101"/>
                    <a:pt x="0" y="107"/>
                    <a:pt x="3" y="112"/>
                  </a:cubicBezTo>
                  <a:cubicBezTo>
                    <a:pt x="22" y="136"/>
                    <a:pt x="86" y="208"/>
                    <a:pt x="191" y="208"/>
                  </a:cubicBezTo>
                  <a:cubicBezTo>
                    <a:pt x="296" y="208"/>
                    <a:pt x="360" y="136"/>
                    <a:pt x="379" y="112"/>
                  </a:cubicBezTo>
                  <a:cubicBezTo>
                    <a:pt x="382" y="107"/>
                    <a:pt x="382" y="101"/>
                    <a:pt x="379" y="96"/>
                  </a:cubicBezTo>
                  <a:close/>
                  <a:moveTo>
                    <a:pt x="191" y="181"/>
                  </a:moveTo>
                  <a:cubicBezTo>
                    <a:pt x="148" y="181"/>
                    <a:pt x="114" y="147"/>
                    <a:pt x="114" y="104"/>
                  </a:cubicBezTo>
                  <a:cubicBezTo>
                    <a:pt x="114" y="61"/>
                    <a:pt x="148" y="27"/>
                    <a:pt x="191" y="27"/>
                  </a:cubicBezTo>
                  <a:cubicBezTo>
                    <a:pt x="234" y="27"/>
                    <a:pt x="268" y="61"/>
                    <a:pt x="268" y="104"/>
                  </a:cubicBezTo>
                  <a:cubicBezTo>
                    <a:pt x="268" y="147"/>
                    <a:pt x="234" y="181"/>
                    <a:pt x="191" y="1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 dirty="0"/>
            </a:p>
          </p:txBody>
        </p:sp>
        <p:sp>
          <p:nvSpPr>
            <p:cNvPr id="237" name="Oval 35">
              <a:extLst>
                <a:ext uri="{FF2B5EF4-FFF2-40B4-BE49-F238E27FC236}">
                  <a16:creationId xmlns:a16="http://schemas.microsoft.com/office/drawing/2014/main" id="{0C23E54F-820A-4291-ABF4-5F7376069D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217988" y="2713038"/>
              <a:ext cx="363538" cy="3651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 dirty="0"/>
            </a:p>
          </p:txBody>
        </p:sp>
      </p:grpSp>
      <p:grpSp>
        <p:nvGrpSpPr>
          <p:cNvPr id="298" name="Group 4">
            <a:extLst>
              <a:ext uri="{FF2B5EF4-FFF2-40B4-BE49-F238E27FC236}">
                <a16:creationId xmlns:a16="http://schemas.microsoft.com/office/drawing/2014/main" id="{98E7CA2A-3985-46CF-AD02-C5A0DF024B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0590" y="4786412"/>
            <a:ext cx="205036" cy="146465"/>
            <a:chOff x="819" y="2"/>
            <a:chExt cx="6042" cy="4316"/>
          </a:xfrm>
        </p:grpSpPr>
        <p:sp>
          <p:nvSpPr>
            <p:cNvPr id="299" name="Freeform 5">
              <a:extLst>
                <a:ext uri="{FF2B5EF4-FFF2-40B4-BE49-F238E27FC236}">
                  <a16:creationId xmlns:a16="http://schemas.microsoft.com/office/drawing/2014/main" id="{D305CEFD-2DF5-411E-9D9D-DD261E708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5" y="262"/>
              <a:ext cx="1415" cy="2124"/>
            </a:xfrm>
            <a:custGeom>
              <a:avLst/>
              <a:gdLst>
                <a:gd name="T0" fmla="*/ 256 w 622"/>
                <a:gd name="T1" fmla="*/ 934 h 934"/>
                <a:gd name="T2" fmla="*/ 228 w 622"/>
                <a:gd name="T3" fmla="*/ 934 h 934"/>
                <a:gd name="T4" fmla="*/ 0 w 622"/>
                <a:gd name="T5" fmla="*/ 767 h 934"/>
                <a:gd name="T6" fmla="*/ 5 w 622"/>
                <a:gd name="T7" fmla="*/ 764 h 934"/>
                <a:gd name="T8" fmla="*/ 228 w 622"/>
                <a:gd name="T9" fmla="*/ 928 h 934"/>
                <a:gd name="T10" fmla="*/ 256 w 622"/>
                <a:gd name="T11" fmla="*/ 928 h 934"/>
                <a:gd name="T12" fmla="*/ 520 w 622"/>
                <a:gd name="T13" fmla="*/ 691 h 934"/>
                <a:gd name="T14" fmla="*/ 520 w 622"/>
                <a:gd name="T15" fmla="*/ 690 h 934"/>
                <a:gd name="T16" fmla="*/ 522 w 622"/>
                <a:gd name="T17" fmla="*/ 689 h 934"/>
                <a:gd name="T18" fmla="*/ 608 w 622"/>
                <a:gd name="T19" fmla="*/ 537 h 934"/>
                <a:gd name="T20" fmla="*/ 602 w 622"/>
                <a:gd name="T21" fmla="*/ 471 h 934"/>
                <a:gd name="T22" fmla="*/ 573 w 622"/>
                <a:gd name="T23" fmla="*/ 464 h 934"/>
                <a:gd name="T24" fmla="*/ 570 w 622"/>
                <a:gd name="T25" fmla="*/ 465 h 934"/>
                <a:gd name="T26" fmla="*/ 570 w 622"/>
                <a:gd name="T27" fmla="*/ 311 h 934"/>
                <a:gd name="T28" fmla="*/ 264 w 622"/>
                <a:gd name="T29" fmla="*/ 6 h 934"/>
                <a:gd name="T30" fmla="*/ 220 w 622"/>
                <a:gd name="T31" fmla="*/ 6 h 934"/>
                <a:gd name="T32" fmla="*/ 30 w 622"/>
                <a:gd name="T33" fmla="*/ 72 h 934"/>
                <a:gd name="T34" fmla="*/ 26 w 622"/>
                <a:gd name="T35" fmla="*/ 67 h 934"/>
                <a:gd name="T36" fmla="*/ 220 w 622"/>
                <a:gd name="T37" fmla="*/ 0 h 934"/>
                <a:gd name="T38" fmla="*/ 264 w 622"/>
                <a:gd name="T39" fmla="*/ 0 h 934"/>
                <a:gd name="T40" fmla="*/ 575 w 622"/>
                <a:gd name="T41" fmla="*/ 311 h 934"/>
                <a:gd name="T42" fmla="*/ 575 w 622"/>
                <a:gd name="T43" fmla="*/ 458 h 934"/>
                <a:gd name="T44" fmla="*/ 606 w 622"/>
                <a:gd name="T45" fmla="*/ 466 h 934"/>
                <a:gd name="T46" fmla="*/ 614 w 622"/>
                <a:gd name="T47" fmla="*/ 538 h 934"/>
                <a:gd name="T48" fmla="*/ 525 w 622"/>
                <a:gd name="T49" fmla="*/ 695 h 934"/>
                <a:gd name="T50" fmla="*/ 256 w 622"/>
                <a:gd name="T51" fmla="*/ 934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2" h="934">
                  <a:moveTo>
                    <a:pt x="256" y="934"/>
                  </a:moveTo>
                  <a:cubicBezTo>
                    <a:pt x="228" y="934"/>
                    <a:pt x="228" y="934"/>
                    <a:pt x="228" y="934"/>
                  </a:cubicBezTo>
                  <a:cubicBezTo>
                    <a:pt x="108" y="934"/>
                    <a:pt x="34" y="829"/>
                    <a:pt x="0" y="767"/>
                  </a:cubicBezTo>
                  <a:cubicBezTo>
                    <a:pt x="5" y="764"/>
                    <a:pt x="5" y="764"/>
                    <a:pt x="5" y="764"/>
                  </a:cubicBezTo>
                  <a:cubicBezTo>
                    <a:pt x="38" y="826"/>
                    <a:pt x="111" y="928"/>
                    <a:pt x="228" y="928"/>
                  </a:cubicBezTo>
                  <a:cubicBezTo>
                    <a:pt x="256" y="928"/>
                    <a:pt x="256" y="928"/>
                    <a:pt x="256" y="928"/>
                  </a:cubicBezTo>
                  <a:cubicBezTo>
                    <a:pt x="420" y="928"/>
                    <a:pt x="519" y="694"/>
                    <a:pt x="520" y="691"/>
                  </a:cubicBezTo>
                  <a:cubicBezTo>
                    <a:pt x="520" y="690"/>
                    <a:pt x="520" y="690"/>
                    <a:pt x="520" y="690"/>
                  </a:cubicBezTo>
                  <a:cubicBezTo>
                    <a:pt x="522" y="689"/>
                    <a:pt x="522" y="689"/>
                    <a:pt x="522" y="689"/>
                  </a:cubicBezTo>
                  <a:cubicBezTo>
                    <a:pt x="563" y="681"/>
                    <a:pt x="590" y="633"/>
                    <a:pt x="608" y="537"/>
                  </a:cubicBezTo>
                  <a:cubicBezTo>
                    <a:pt x="615" y="504"/>
                    <a:pt x="613" y="481"/>
                    <a:pt x="602" y="471"/>
                  </a:cubicBezTo>
                  <a:cubicBezTo>
                    <a:pt x="590" y="460"/>
                    <a:pt x="573" y="464"/>
                    <a:pt x="573" y="464"/>
                  </a:cubicBezTo>
                  <a:cubicBezTo>
                    <a:pt x="570" y="465"/>
                    <a:pt x="570" y="465"/>
                    <a:pt x="570" y="465"/>
                  </a:cubicBezTo>
                  <a:cubicBezTo>
                    <a:pt x="570" y="311"/>
                    <a:pt x="570" y="311"/>
                    <a:pt x="570" y="311"/>
                  </a:cubicBezTo>
                  <a:cubicBezTo>
                    <a:pt x="570" y="143"/>
                    <a:pt x="432" y="6"/>
                    <a:pt x="264" y="6"/>
                  </a:cubicBezTo>
                  <a:cubicBezTo>
                    <a:pt x="220" y="6"/>
                    <a:pt x="220" y="6"/>
                    <a:pt x="220" y="6"/>
                  </a:cubicBezTo>
                  <a:cubicBezTo>
                    <a:pt x="150" y="6"/>
                    <a:pt x="85" y="29"/>
                    <a:pt x="30" y="72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82" y="23"/>
                    <a:pt x="149" y="0"/>
                    <a:pt x="220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436" y="0"/>
                    <a:pt x="575" y="140"/>
                    <a:pt x="575" y="311"/>
                  </a:cubicBezTo>
                  <a:cubicBezTo>
                    <a:pt x="575" y="458"/>
                    <a:pt x="575" y="458"/>
                    <a:pt x="575" y="458"/>
                  </a:cubicBezTo>
                  <a:cubicBezTo>
                    <a:pt x="582" y="457"/>
                    <a:pt x="595" y="456"/>
                    <a:pt x="606" y="466"/>
                  </a:cubicBezTo>
                  <a:cubicBezTo>
                    <a:pt x="619" y="479"/>
                    <a:pt x="622" y="503"/>
                    <a:pt x="614" y="538"/>
                  </a:cubicBezTo>
                  <a:cubicBezTo>
                    <a:pt x="603" y="600"/>
                    <a:pt x="581" y="682"/>
                    <a:pt x="525" y="695"/>
                  </a:cubicBezTo>
                  <a:cubicBezTo>
                    <a:pt x="516" y="715"/>
                    <a:pt x="417" y="934"/>
                    <a:pt x="256" y="934"/>
                  </a:cubicBez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0" name="Freeform 6">
              <a:extLst>
                <a:ext uri="{FF2B5EF4-FFF2-40B4-BE49-F238E27FC236}">
                  <a16:creationId xmlns:a16="http://schemas.microsoft.com/office/drawing/2014/main" id="{587DDB3C-5022-4E4F-8C7F-B2375118D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2" y="2418"/>
              <a:ext cx="1089" cy="1492"/>
            </a:xfrm>
            <a:custGeom>
              <a:avLst/>
              <a:gdLst>
                <a:gd name="T0" fmla="*/ 479 w 479"/>
                <a:gd name="T1" fmla="*/ 656 h 656"/>
                <a:gd name="T2" fmla="*/ 0 w 479"/>
                <a:gd name="T3" fmla="*/ 656 h 656"/>
                <a:gd name="T4" fmla="*/ 0 w 479"/>
                <a:gd name="T5" fmla="*/ 650 h 656"/>
                <a:gd name="T6" fmla="*/ 473 w 479"/>
                <a:gd name="T7" fmla="*/ 650 h 656"/>
                <a:gd name="T8" fmla="*/ 458 w 479"/>
                <a:gd name="T9" fmla="*/ 270 h 656"/>
                <a:gd name="T10" fmla="*/ 365 w 479"/>
                <a:gd name="T11" fmla="*/ 140 h 656"/>
                <a:gd name="T12" fmla="*/ 44 w 479"/>
                <a:gd name="T13" fmla="*/ 5 h 656"/>
                <a:gd name="T14" fmla="*/ 47 w 479"/>
                <a:gd name="T15" fmla="*/ 0 h 656"/>
                <a:gd name="T16" fmla="*/ 368 w 479"/>
                <a:gd name="T17" fmla="*/ 134 h 656"/>
                <a:gd name="T18" fmla="*/ 464 w 479"/>
                <a:gd name="T19" fmla="*/ 270 h 656"/>
                <a:gd name="T20" fmla="*/ 479 w 479"/>
                <a:gd name="T2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9" h="656">
                  <a:moveTo>
                    <a:pt x="479" y="656"/>
                  </a:moveTo>
                  <a:cubicBezTo>
                    <a:pt x="0" y="656"/>
                    <a:pt x="0" y="656"/>
                    <a:pt x="0" y="656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473" y="650"/>
                    <a:pt x="473" y="650"/>
                    <a:pt x="473" y="650"/>
                  </a:cubicBezTo>
                  <a:cubicBezTo>
                    <a:pt x="458" y="270"/>
                    <a:pt x="458" y="270"/>
                    <a:pt x="458" y="270"/>
                  </a:cubicBezTo>
                  <a:cubicBezTo>
                    <a:pt x="458" y="268"/>
                    <a:pt x="464" y="182"/>
                    <a:pt x="365" y="140"/>
                  </a:cubicBezTo>
                  <a:cubicBezTo>
                    <a:pt x="265" y="96"/>
                    <a:pt x="46" y="6"/>
                    <a:pt x="44" y="5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1"/>
                    <a:pt x="267" y="91"/>
                    <a:pt x="368" y="134"/>
                  </a:cubicBezTo>
                  <a:cubicBezTo>
                    <a:pt x="470" y="178"/>
                    <a:pt x="464" y="269"/>
                    <a:pt x="464" y="270"/>
                  </a:cubicBezTo>
                  <a:lnTo>
                    <a:pt x="479" y="656"/>
                  </a:ln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1" name="Freeform 7">
              <a:extLst>
                <a:ext uri="{FF2B5EF4-FFF2-40B4-BE49-F238E27FC236}">
                  <a16:creationId xmlns:a16="http://schemas.microsoft.com/office/drawing/2014/main" id="{7E9B11EC-F8E1-443F-9216-8C0B632C3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0" y="2395"/>
              <a:ext cx="191" cy="167"/>
            </a:xfrm>
            <a:custGeom>
              <a:avLst/>
              <a:gdLst>
                <a:gd name="T0" fmla="*/ 9 w 191"/>
                <a:gd name="T1" fmla="*/ 167 h 167"/>
                <a:gd name="T2" fmla="*/ 0 w 191"/>
                <a:gd name="T3" fmla="*/ 157 h 167"/>
                <a:gd name="T4" fmla="*/ 184 w 191"/>
                <a:gd name="T5" fmla="*/ 0 h 167"/>
                <a:gd name="T6" fmla="*/ 191 w 191"/>
                <a:gd name="T7" fmla="*/ 10 h 167"/>
                <a:gd name="T8" fmla="*/ 9 w 191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67">
                  <a:moveTo>
                    <a:pt x="9" y="167"/>
                  </a:moveTo>
                  <a:lnTo>
                    <a:pt x="0" y="157"/>
                  </a:lnTo>
                  <a:lnTo>
                    <a:pt x="184" y="0"/>
                  </a:lnTo>
                  <a:lnTo>
                    <a:pt x="191" y="10"/>
                  </a:lnTo>
                  <a:lnTo>
                    <a:pt x="9" y="167"/>
                  </a:ln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2" name="Freeform 8">
              <a:extLst>
                <a:ext uri="{FF2B5EF4-FFF2-40B4-BE49-F238E27FC236}">
                  <a16:creationId xmlns:a16="http://schemas.microsoft.com/office/drawing/2014/main" id="{93F0AAAE-62E1-4EFC-88FF-450F3AE38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0" y="262"/>
              <a:ext cx="1415" cy="2124"/>
            </a:xfrm>
            <a:custGeom>
              <a:avLst/>
              <a:gdLst>
                <a:gd name="T0" fmla="*/ 394 w 622"/>
                <a:gd name="T1" fmla="*/ 934 h 934"/>
                <a:gd name="T2" fmla="*/ 366 w 622"/>
                <a:gd name="T3" fmla="*/ 934 h 934"/>
                <a:gd name="T4" fmla="*/ 97 w 622"/>
                <a:gd name="T5" fmla="*/ 695 h 934"/>
                <a:gd name="T6" fmla="*/ 8 w 622"/>
                <a:gd name="T7" fmla="*/ 538 h 934"/>
                <a:gd name="T8" fmla="*/ 16 w 622"/>
                <a:gd name="T9" fmla="*/ 466 h 934"/>
                <a:gd name="T10" fmla="*/ 46 w 622"/>
                <a:gd name="T11" fmla="*/ 458 h 934"/>
                <a:gd name="T12" fmla="*/ 46 w 622"/>
                <a:gd name="T13" fmla="*/ 311 h 934"/>
                <a:gd name="T14" fmla="*/ 358 w 622"/>
                <a:gd name="T15" fmla="*/ 0 h 934"/>
                <a:gd name="T16" fmla="*/ 402 w 622"/>
                <a:gd name="T17" fmla="*/ 0 h 934"/>
                <a:gd name="T18" fmla="*/ 595 w 622"/>
                <a:gd name="T19" fmla="*/ 67 h 934"/>
                <a:gd name="T20" fmla="*/ 592 w 622"/>
                <a:gd name="T21" fmla="*/ 72 h 934"/>
                <a:gd name="T22" fmla="*/ 402 w 622"/>
                <a:gd name="T23" fmla="*/ 6 h 934"/>
                <a:gd name="T24" fmla="*/ 358 w 622"/>
                <a:gd name="T25" fmla="*/ 6 h 934"/>
                <a:gd name="T26" fmla="*/ 52 w 622"/>
                <a:gd name="T27" fmla="*/ 311 h 934"/>
                <a:gd name="T28" fmla="*/ 52 w 622"/>
                <a:gd name="T29" fmla="*/ 465 h 934"/>
                <a:gd name="T30" fmla="*/ 48 w 622"/>
                <a:gd name="T31" fmla="*/ 464 h 934"/>
                <a:gd name="T32" fmla="*/ 20 w 622"/>
                <a:gd name="T33" fmla="*/ 471 h 934"/>
                <a:gd name="T34" fmla="*/ 13 w 622"/>
                <a:gd name="T35" fmla="*/ 537 h 934"/>
                <a:gd name="T36" fmla="*/ 100 w 622"/>
                <a:gd name="T37" fmla="*/ 689 h 934"/>
                <a:gd name="T38" fmla="*/ 101 w 622"/>
                <a:gd name="T39" fmla="*/ 690 h 934"/>
                <a:gd name="T40" fmla="*/ 102 w 622"/>
                <a:gd name="T41" fmla="*/ 691 h 934"/>
                <a:gd name="T42" fmla="*/ 366 w 622"/>
                <a:gd name="T43" fmla="*/ 928 h 934"/>
                <a:gd name="T44" fmla="*/ 394 w 622"/>
                <a:gd name="T45" fmla="*/ 928 h 934"/>
                <a:gd name="T46" fmla="*/ 617 w 622"/>
                <a:gd name="T47" fmla="*/ 764 h 934"/>
                <a:gd name="T48" fmla="*/ 622 w 622"/>
                <a:gd name="T49" fmla="*/ 767 h 934"/>
                <a:gd name="T50" fmla="*/ 394 w 622"/>
                <a:gd name="T51" fmla="*/ 934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2" h="934">
                  <a:moveTo>
                    <a:pt x="394" y="934"/>
                  </a:moveTo>
                  <a:cubicBezTo>
                    <a:pt x="366" y="934"/>
                    <a:pt x="366" y="934"/>
                    <a:pt x="366" y="934"/>
                  </a:cubicBezTo>
                  <a:cubicBezTo>
                    <a:pt x="205" y="934"/>
                    <a:pt x="106" y="715"/>
                    <a:pt x="97" y="695"/>
                  </a:cubicBezTo>
                  <a:cubicBezTo>
                    <a:pt x="41" y="682"/>
                    <a:pt x="19" y="600"/>
                    <a:pt x="8" y="538"/>
                  </a:cubicBezTo>
                  <a:cubicBezTo>
                    <a:pt x="0" y="503"/>
                    <a:pt x="3" y="479"/>
                    <a:pt x="16" y="466"/>
                  </a:cubicBezTo>
                  <a:cubicBezTo>
                    <a:pt x="26" y="457"/>
                    <a:pt x="40" y="457"/>
                    <a:pt x="46" y="458"/>
                  </a:cubicBezTo>
                  <a:cubicBezTo>
                    <a:pt x="46" y="311"/>
                    <a:pt x="46" y="311"/>
                    <a:pt x="46" y="311"/>
                  </a:cubicBezTo>
                  <a:cubicBezTo>
                    <a:pt x="46" y="140"/>
                    <a:pt x="186" y="0"/>
                    <a:pt x="358" y="0"/>
                  </a:cubicBezTo>
                  <a:cubicBezTo>
                    <a:pt x="402" y="0"/>
                    <a:pt x="402" y="0"/>
                    <a:pt x="402" y="0"/>
                  </a:cubicBezTo>
                  <a:cubicBezTo>
                    <a:pt x="473" y="0"/>
                    <a:pt x="540" y="23"/>
                    <a:pt x="595" y="67"/>
                  </a:cubicBezTo>
                  <a:cubicBezTo>
                    <a:pt x="592" y="72"/>
                    <a:pt x="592" y="72"/>
                    <a:pt x="592" y="72"/>
                  </a:cubicBezTo>
                  <a:cubicBezTo>
                    <a:pt x="537" y="29"/>
                    <a:pt x="472" y="6"/>
                    <a:pt x="402" y="6"/>
                  </a:cubicBezTo>
                  <a:cubicBezTo>
                    <a:pt x="358" y="6"/>
                    <a:pt x="358" y="6"/>
                    <a:pt x="358" y="6"/>
                  </a:cubicBezTo>
                  <a:cubicBezTo>
                    <a:pt x="189" y="6"/>
                    <a:pt x="52" y="143"/>
                    <a:pt x="52" y="311"/>
                  </a:cubicBezTo>
                  <a:cubicBezTo>
                    <a:pt x="52" y="465"/>
                    <a:pt x="52" y="465"/>
                    <a:pt x="52" y="465"/>
                  </a:cubicBezTo>
                  <a:cubicBezTo>
                    <a:pt x="48" y="464"/>
                    <a:pt x="48" y="464"/>
                    <a:pt x="48" y="464"/>
                  </a:cubicBezTo>
                  <a:cubicBezTo>
                    <a:pt x="48" y="464"/>
                    <a:pt x="31" y="460"/>
                    <a:pt x="20" y="471"/>
                  </a:cubicBezTo>
                  <a:cubicBezTo>
                    <a:pt x="9" y="481"/>
                    <a:pt x="6" y="504"/>
                    <a:pt x="13" y="537"/>
                  </a:cubicBezTo>
                  <a:cubicBezTo>
                    <a:pt x="32" y="633"/>
                    <a:pt x="59" y="681"/>
                    <a:pt x="100" y="689"/>
                  </a:cubicBezTo>
                  <a:cubicBezTo>
                    <a:pt x="101" y="690"/>
                    <a:pt x="101" y="690"/>
                    <a:pt x="101" y="690"/>
                  </a:cubicBezTo>
                  <a:cubicBezTo>
                    <a:pt x="102" y="691"/>
                    <a:pt x="102" y="691"/>
                    <a:pt x="102" y="691"/>
                  </a:cubicBezTo>
                  <a:cubicBezTo>
                    <a:pt x="103" y="694"/>
                    <a:pt x="202" y="928"/>
                    <a:pt x="366" y="928"/>
                  </a:cubicBezTo>
                  <a:cubicBezTo>
                    <a:pt x="394" y="928"/>
                    <a:pt x="394" y="928"/>
                    <a:pt x="394" y="928"/>
                  </a:cubicBezTo>
                  <a:cubicBezTo>
                    <a:pt x="511" y="928"/>
                    <a:pt x="584" y="826"/>
                    <a:pt x="617" y="764"/>
                  </a:cubicBezTo>
                  <a:cubicBezTo>
                    <a:pt x="622" y="767"/>
                    <a:pt x="622" y="767"/>
                    <a:pt x="622" y="767"/>
                  </a:cubicBezTo>
                  <a:cubicBezTo>
                    <a:pt x="588" y="829"/>
                    <a:pt x="514" y="934"/>
                    <a:pt x="394" y="934"/>
                  </a:cubicBez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3" name="Freeform 9">
              <a:extLst>
                <a:ext uri="{FF2B5EF4-FFF2-40B4-BE49-F238E27FC236}">
                  <a16:creationId xmlns:a16="http://schemas.microsoft.com/office/drawing/2014/main" id="{C3773FB9-D212-4777-88D1-671666BF4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" y="2418"/>
              <a:ext cx="1089" cy="1492"/>
            </a:xfrm>
            <a:custGeom>
              <a:avLst/>
              <a:gdLst>
                <a:gd name="T0" fmla="*/ 479 w 479"/>
                <a:gd name="T1" fmla="*/ 656 h 656"/>
                <a:gd name="T2" fmla="*/ 0 w 479"/>
                <a:gd name="T3" fmla="*/ 656 h 656"/>
                <a:gd name="T4" fmla="*/ 15 w 479"/>
                <a:gd name="T5" fmla="*/ 269 h 656"/>
                <a:gd name="T6" fmla="*/ 111 w 479"/>
                <a:gd name="T7" fmla="*/ 134 h 656"/>
                <a:gd name="T8" fmla="*/ 432 w 479"/>
                <a:gd name="T9" fmla="*/ 0 h 656"/>
                <a:gd name="T10" fmla="*/ 434 w 479"/>
                <a:gd name="T11" fmla="*/ 5 h 656"/>
                <a:gd name="T12" fmla="*/ 113 w 479"/>
                <a:gd name="T13" fmla="*/ 140 h 656"/>
                <a:gd name="T14" fmla="*/ 21 w 479"/>
                <a:gd name="T15" fmla="*/ 269 h 656"/>
                <a:gd name="T16" fmla="*/ 6 w 479"/>
                <a:gd name="T17" fmla="*/ 650 h 656"/>
                <a:gd name="T18" fmla="*/ 479 w 479"/>
                <a:gd name="T19" fmla="*/ 650 h 656"/>
                <a:gd name="T20" fmla="*/ 479 w 479"/>
                <a:gd name="T2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9" h="656">
                  <a:moveTo>
                    <a:pt x="479" y="656"/>
                  </a:moveTo>
                  <a:cubicBezTo>
                    <a:pt x="0" y="656"/>
                    <a:pt x="0" y="656"/>
                    <a:pt x="0" y="656"/>
                  </a:cubicBezTo>
                  <a:cubicBezTo>
                    <a:pt x="15" y="269"/>
                    <a:pt x="15" y="269"/>
                    <a:pt x="15" y="269"/>
                  </a:cubicBezTo>
                  <a:cubicBezTo>
                    <a:pt x="15" y="269"/>
                    <a:pt x="9" y="178"/>
                    <a:pt x="111" y="134"/>
                  </a:cubicBezTo>
                  <a:cubicBezTo>
                    <a:pt x="212" y="91"/>
                    <a:pt x="430" y="1"/>
                    <a:pt x="432" y="0"/>
                  </a:cubicBezTo>
                  <a:cubicBezTo>
                    <a:pt x="434" y="5"/>
                    <a:pt x="434" y="5"/>
                    <a:pt x="434" y="5"/>
                  </a:cubicBezTo>
                  <a:cubicBezTo>
                    <a:pt x="432" y="6"/>
                    <a:pt x="214" y="96"/>
                    <a:pt x="113" y="140"/>
                  </a:cubicBezTo>
                  <a:cubicBezTo>
                    <a:pt x="15" y="182"/>
                    <a:pt x="21" y="268"/>
                    <a:pt x="21" y="269"/>
                  </a:cubicBezTo>
                  <a:cubicBezTo>
                    <a:pt x="6" y="650"/>
                    <a:pt x="6" y="650"/>
                    <a:pt x="6" y="650"/>
                  </a:cubicBezTo>
                  <a:cubicBezTo>
                    <a:pt x="479" y="650"/>
                    <a:pt x="479" y="650"/>
                    <a:pt x="479" y="650"/>
                  </a:cubicBezTo>
                  <a:lnTo>
                    <a:pt x="479" y="656"/>
                  </a:ln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4" name="Freeform 10">
              <a:extLst>
                <a:ext uri="{FF2B5EF4-FFF2-40B4-BE49-F238E27FC236}">
                  <a16:creationId xmlns:a16="http://schemas.microsoft.com/office/drawing/2014/main" id="{9F6D33C5-E485-428C-8BF2-B099FB96B6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7" y="2395"/>
              <a:ext cx="191" cy="167"/>
            </a:xfrm>
            <a:custGeom>
              <a:avLst/>
              <a:gdLst>
                <a:gd name="T0" fmla="*/ 184 w 191"/>
                <a:gd name="T1" fmla="*/ 167 h 167"/>
                <a:gd name="T2" fmla="*/ 0 w 191"/>
                <a:gd name="T3" fmla="*/ 10 h 167"/>
                <a:gd name="T4" fmla="*/ 9 w 191"/>
                <a:gd name="T5" fmla="*/ 0 h 167"/>
                <a:gd name="T6" fmla="*/ 191 w 191"/>
                <a:gd name="T7" fmla="*/ 157 h 167"/>
                <a:gd name="T8" fmla="*/ 184 w 191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67">
                  <a:moveTo>
                    <a:pt x="184" y="167"/>
                  </a:moveTo>
                  <a:lnTo>
                    <a:pt x="0" y="10"/>
                  </a:lnTo>
                  <a:lnTo>
                    <a:pt x="9" y="0"/>
                  </a:lnTo>
                  <a:lnTo>
                    <a:pt x="191" y="157"/>
                  </a:lnTo>
                  <a:lnTo>
                    <a:pt x="184" y="167"/>
                  </a:ln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5" name="Freeform 11">
              <a:extLst>
                <a:ext uri="{FF2B5EF4-FFF2-40B4-BE49-F238E27FC236}">
                  <a16:creationId xmlns:a16="http://schemas.microsoft.com/office/drawing/2014/main" id="{5B9C782F-9243-4300-B595-146F5588C8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36" y="2"/>
              <a:ext cx="2072" cy="2514"/>
            </a:xfrm>
            <a:custGeom>
              <a:avLst/>
              <a:gdLst>
                <a:gd name="T0" fmla="*/ 478 w 911"/>
                <a:gd name="T1" fmla="*/ 1105 h 1105"/>
                <a:gd name="T2" fmla="*/ 445 w 911"/>
                <a:gd name="T3" fmla="*/ 1105 h 1105"/>
                <a:gd name="T4" fmla="*/ 144 w 911"/>
                <a:gd name="T5" fmla="*/ 838 h 1105"/>
                <a:gd name="T6" fmla="*/ 21 w 911"/>
                <a:gd name="T7" fmla="*/ 692 h 1105"/>
                <a:gd name="T8" fmla="*/ 20 w 911"/>
                <a:gd name="T9" fmla="*/ 561 h 1105"/>
                <a:gd name="T10" fmla="*/ 67 w 911"/>
                <a:gd name="T11" fmla="*/ 546 h 1105"/>
                <a:gd name="T12" fmla="*/ 67 w 911"/>
                <a:gd name="T13" fmla="*/ 369 h 1105"/>
                <a:gd name="T14" fmla="*/ 435 w 911"/>
                <a:gd name="T15" fmla="*/ 0 h 1105"/>
                <a:gd name="T16" fmla="*/ 488 w 911"/>
                <a:gd name="T17" fmla="*/ 0 h 1105"/>
                <a:gd name="T18" fmla="*/ 856 w 911"/>
                <a:gd name="T19" fmla="*/ 369 h 1105"/>
                <a:gd name="T20" fmla="*/ 856 w 911"/>
                <a:gd name="T21" fmla="*/ 542 h 1105"/>
                <a:gd name="T22" fmla="*/ 892 w 911"/>
                <a:gd name="T23" fmla="*/ 552 h 1105"/>
                <a:gd name="T24" fmla="*/ 902 w 911"/>
                <a:gd name="T25" fmla="*/ 637 h 1105"/>
                <a:gd name="T26" fmla="*/ 796 w 911"/>
                <a:gd name="T27" fmla="*/ 822 h 1105"/>
                <a:gd name="T28" fmla="*/ 478 w 911"/>
                <a:gd name="T29" fmla="*/ 1105 h 1105"/>
                <a:gd name="T30" fmla="*/ 59 w 911"/>
                <a:gd name="T31" fmla="*/ 551 h 1105"/>
                <a:gd name="T32" fmla="*/ 25 w 911"/>
                <a:gd name="T33" fmla="*/ 565 h 1105"/>
                <a:gd name="T34" fmla="*/ 26 w 911"/>
                <a:gd name="T35" fmla="*/ 690 h 1105"/>
                <a:gd name="T36" fmla="*/ 147 w 911"/>
                <a:gd name="T37" fmla="*/ 833 h 1105"/>
                <a:gd name="T38" fmla="*/ 149 w 911"/>
                <a:gd name="T39" fmla="*/ 833 h 1105"/>
                <a:gd name="T40" fmla="*/ 149 w 911"/>
                <a:gd name="T41" fmla="*/ 835 h 1105"/>
                <a:gd name="T42" fmla="*/ 445 w 911"/>
                <a:gd name="T43" fmla="*/ 1099 h 1105"/>
                <a:gd name="T44" fmla="*/ 478 w 911"/>
                <a:gd name="T45" fmla="*/ 1099 h 1105"/>
                <a:gd name="T46" fmla="*/ 791 w 911"/>
                <a:gd name="T47" fmla="*/ 818 h 1105"/>
                <a:gd name="T48" fmla="*/ 792 w 911"/>
                <a:gd name="T49" fmla="*/ 817 h 1105"/>
                <a:gd name="T50" fmla="*/ 793 w 911"/>
                <a:gd name="T51" fmla="*/ 816 h 1105"/>
                <a:gd name="T52" fmla="*/ 896 w 911"/>
                <a:gd name="T53" fmla="*/ 636 h 1105"/>
                <a:gd name="T54" fmla="*/ 888 w 911"/>
                <a:gd name="T55" fmla="*/ 556 h 1105"/>
                <a:gd name="T56" fmla="*/ 854 w 911"/>
                <a:gd name="T57" fmla="*/ 549 h 1105"/>
                <a:gd name="T58" fmla="*/ 850 w 911"/>
                <a:gd name="T59" fmla="*/ 550 h 1105"/>
                <a:gd name="T60" fmla="*/ 850 w 911"/>
                <a:gd name="T61" fmla="*/ 369 h 1105"/>
                <a:gd name="T62" fmla="*/ 488 w 911"/>
                <a:gd name="T63" fmla="*/ 6 h 1105"/>
                <a:gd name="T64" fmla="*/ 435 w 911"/>
                <a:gd name="T65" fmla="*/ 6 h 1105"/>
                <a:gd name="T66" fmla="*/ 73 w 911"/>
                <a:gd name="T67" fmla="*/ 369 h 1105"/>
                <a:gd name="T68" fmla="*/ 73 w 911"/>
                <a:gd name="T69" fmla="*/ 553 h 1105"/>
                <a:gd name="T70" fmla="*/ 69 w 911"/>
                <a:gd name="T71" fmla="*/ 552 h 1105"/>
                <a:gd name="T72" fmla="*/ 59 w 911"/>
                <a:gd name="T73" fmla="*/ 551 h 1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11" h="1105">
                  <a:moveTo>
                    <a:pt x="478" y="1105"/>
                  </a:moveTo>
                  <a:cubicBezTo>
                    <a:pt x="445" y="1105"/>
                    <a:pt x="445" y="1105"/>
                    <a:pt x="445" y="1105"/>
                  </a:cubicBezTo>
                  <a:cubicBezTo>
                    <a:pt x="246" y="1105"/>
                    <a:pt x="152" y="860"/>
                    <a:pt x="144" y="838"/>
                  </a:cubicBezTo>
                  <a:cubicBezTo>
                    <a:pt x="73" y="819"/>
                    <a:pt x="34" y="730"/>
                    <a:pt x="21" y="692"/>
                  </a:cubicBezTo>
                  <a:cubicBezTo>
                    <a:pt x="0" y="628"/>
                    <a:pt x="0" y="584"/>
                    <a:pt x="20" y="561"/>
                  </a:cubicBezTo>
                  <a:cubicBezTo>
                    <a:pt x="36" y="544"/>
                    <a:pt x="58" y="544"/>
                    <a:pt x="67" y="546"/>
                  </a:cubicBezTo>
                  <a:cubicBezTo>
                    <a:pt x="67" y="369"/>
                    <a:pt x="67" y="369"/>
                    <a:pt x="67" y="369"/>
                  </a:cubicBezTo>
                  <a:cubicBezTo>
                    <a:pt x="67" y="166"/>
                    <a:pt x="232" y="0"/>
                    <a:pt x="435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691" y="0"/>
                    <a:pt x="856" y="166"/>
                    <a:pt x="856" y="369"/>
                  </a:cubicBezTo>
                  <a:cubicBezTo>
                    <a:pt x="856" y="542"/>
                    <a:pt x="856" y="542"/>
                    <a:pt x="856" y="542"/>
                  </a:cubicBezTo>
                  <a:cubicBezTo>
                    <a:pt x="863" y="541"/>
                    <a:pt x="879" y="540"/>
                    <a:pt x="892" y="552"/>
                  </a:cubicBezTo>
                  <a:cubicBezTo>
                    <a:pt x="907" y="567"/>
                    <a:pt x="911" y="595"/>
                    <a:pt x="902" y="637"/>
                  </a:cubicBezTo>
                  <a:cubicBezTo>
                    <a:pt x="888" y="710"/>
                    <a:pt x="862" y="807"/>
                    <a:pt x="796" y="822"/>
                  </a:cubicBezTo>
                  <a:cubicBezTo>
                    <a:pt x="786" y="844"/>
                    <a:pt x="669" y="1105"/>
                    <a:pt x="478" y="1105"/>
                  </a:cubicBezTo>
                  <a:close/>
                  <a:moveTo>
                    <a:pt x="59" y="551"/>
                  </a:moveTo>
                  <a:cubicBezTo>
                    <a:pt x="50" y="551"/>
                    <a:pt x="35" y="553"/>
                    <a:pt x="25" y="565"/>
                  </a:cubicBezTo>
                  <a:cubicBezTo>
                    <a:pt x="6" y="586"/>
                    <a:pt x="7" y="629"/>
                    <a:pt x="26" y="690"/>
                  </a:cubicBezTo>
                  <a:cubicBezTo>
                    <a:pt x="40" y="727"/>
                    <a:pt x="78" y="815"/>
                    <a:pt x="147" y="833"/>
                  </a:cubicBezTo>
                  <a:cubicBezTo>
                    <a:pt x="149" y="833"/>
                    <a:pt x="149" y="833"/>
                    <a:pt x="149" y="833"/>
                  </a:cubicBezTo>
                  <a:cubicBezTo>
                    <a:pt x="149" y="835"/>
                    <a:pt x="149" y="835"/>
                    <a:pt x="149" y="835"/>
                  </a:cubicBezTo>
                  <a:cubicBezTo>
                    <a:pt x="150" y="837"/>
                    <a:pt x="242" y="1099"/>
                    <a:pt x="445" y="1099"/>
                  </a:cubicBezTo>
                  <a:cubicBezTo>
                    <a:pt x="478" y="1099"/>
                    <a:pt x="478" y="1099"/>
                    <a:pt x="478" y="1099"/>
                  </a:cubicBezTo>
                  <a:cubicBezTo>
                    <a:pt x="673" y="1099"/>
                    <a:pt x="790" y="821"/>
                    <a:pt x="791" y="818"/>
                  </a:cubicBezTo>
                  <a:cubicBezTo>
                    <a:pt x="792" y="817"/>
                    <a:pt x="792" y="817"/>
                    <a:pt x="792" y="817"/>
                  </a:cubicBezTo>
                  <a:cubicBezTo>
                    <a:pt x="793" y="816"/>
                    <a:pt x="793" y="816"/>
                    <a:pt x="793" y="816"/>
                  </a:cubicBezTo>
                  <a:cubicBezTo>
                    <a:pt x="842" y="807"/>
                    <a:pt x="874" y="749"/>
                    <a:pt x="896" y="636"/>
                  </a:cubicBezTo>
                  <a:cubicBezTo>
                    <a:pt x="904" y="597"/>
                    <a:pt x="901" y="569"/>
                    <a:pt x="888" y="556"/>
                  </a:cubicBezTo>
                  <a:cubicBezTo>
                    <a:pt x="874" y="544"/>
                    <a:pt x="854" y="549"/>
                    <a:pt x="854" y="549"/>
                  </a:cubicBezTo>
                  <a:cubicBezTo>
                    <a:pt x="850" y="550"/>
                    <a:pt x="850" y="550"/>
                    <a:pt x="850" y="550"/>
                  </a:cubicBezTo>
                  <a:cubicBezTo>
                    <a:pt x="850" y="369"/>
                    <a:pt x="850" y="369"/>
                    <a:pt x="850" y="369"/>
                  </a:cubicBezTo>
                  <a:cubicBezTo>
                    <a:pt x="850" y="169"/>
                    <a:pt x="687" y="6"/>
                    <a:pt x="488" y="6"/>
                  </a:cubicBezTo>
                  <a:cubicBezTo>
                    <a:pt x="435" y="6"/>
                    <a:pt x="435" y="6"/>
                    <a:pt x="435" y="6"/>
                  </a:cubicBezTo>
                  <a:cubicBezTo>
                    <a:pt x="235" y="6"/>
                    <a:pt x="73" y="169"/>
                    <a:pt x="73" y="369"/>
                  </a:cubicBezTo>
                  <a:cubicBezTo>
                    <a:pt x="73" y="553"/>
                    <a:pt x="73" y="553"/>
                    <a:pt x="73" y="553"/>
                  </a:cubicBezTo>
                  <a:cubicBezTo>
                    <a:pt x="69" y="552"/>
                    <a:pt x="69" y="552"/>
                    <a:pt x="69" y="552"/>
                  </a:cubicBezTo>
                  <a:cubicBezTo>
                    <a:pt x="69" y="552"/>
                    <a:pt x="65" y="551"/>
                    <a:pt x="59" y="551"/>
                  </a:cubicBez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6" name="Freeform 12">
              <a:extLst>
                <a:ext uri="{FF2B5EF4-FFF2-40B4-BE49-F238E27FC236}">
                  <a16:creationId xmlns:a16="http://schemas.microsoft.com/office/drawing/2014/main" id="{1FE9F2B4-07C4-4865-8EC3-1423E2828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0" y="2480"/>
              <a:ext cx="3382" cy="1838"/>
            </a:xfrm>
            <a:custGeom>
              <a:avLst/>
              <a:gdLst>
                <a:gd name="T0" fmla="*/ 1487 w 1487"/>
                <a:gd name="T1" fmla="*/ 808 h 808"/>
                <a:gd name="T2" fmla="*/ 0 w 1487"/>
                <a:gd name="T3" fmla="*/ 808 h 808"/>
                <a:gd name="T4" fmla="*/ 0 w 1487"/>
                <a:gd name="T5" fmla="*/ 805 h 808"/>
                <a:gd name="T6" fmla="*/ 18 w 1487"/>
                <a:gd name="T7" fmla="*/ 339 h 808"/>
                <a:gd name="T8" fmla="*/ 101 w 1487"/>
                <a:gd name="T9" fmla="*/ 199 h 808"/>
                <a:gd name="T10" fmla="*/ 565 w 1487"/>
                <a:gd name="T11" fmla="*/ 0 h 808"/>
                <a:gd name="T12" fmla="*/ 568 w 1487"/>
                <a:gd name="T13" fmla="*/ 5 h 808"/>
                <a:gd name="T14" fmla="*/ 103 w 1487"/>
                <a:gd name="T15" fmla="*/ 204 h 808"/>
                <a:gd name="T16" fmla="*/ 23 w 1487"/>
                <a:gd name="T17" fmla="*/ 339 h 808"/>
                <a:gd name="T18" fmla="*/ 6 w 1487"/>
                <a:gd name="T19" fmla="*/ 802 h 808"/>
                <a:gd name="T20" fmla="*/ 1481 w 1487"/>
                <a:gd name="T21" fmla="*/ 802 h 808"/>
                <a:gd name="T22" fmla="*/ 1464 w 1487"/>
                <a:gd name="T23" fmla="*/ 352 h 808"/>
                <a:gd name="T24" fmla="*/ 1354 w 1487"/>
                <a:gd name="T25" fmla="*/ 198 h 808"/>
                <a:gd name="T26" fmla="*/ 908 w 1487"/>
                <a:gd name="T27" fmla="*/ 12 h 808"/>
                <a:gd name="T28" fmla="*/ 911 w 1487"/>
                <a:gd name="T29" fmla="*/ 6 h 808"/>
                <a:gd name="T30" fmla="*/ 1356 w 1487"/>
                <a:gd name="T31" fmla="*/ 192 h 808"/>
                <a:gd name="T32" fmla="*/ 1469 w 1487"/>
                <a:gd name="T33" fmla="*/ 352 h 808"/>
                <a:gd name="T34" fmla="*/ 1487 w 1487"/>
                <a:gd name="T35" fmla="*/ 808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87" h="808">
                  <a:moveTo>
                    <a:pt x="1487" y="808"/>
                  </a:moveTo>
                  <a:cubicBezTo>
                    <a:pt x="0" y="808"/>
                    <a:pt x="0" y="808"/>
                    <a:pt x="0" y="808"/>
                  </a:cubicBezTo>
                  <a:cubicBezTo>
                    <a:pt x="0" y="805"/>
                    <a:pt x="0" y="805"/>
                    <a:pt x="0" y="805"/>
                  </a:cubicBezTo>
                  <a:cubicBezTo>
                    <a:pt x="0" y="801"/>
                    <a:pt x="9" y="438"/>
                    <a:pt x="18" y="339"/>
                  </a:cubicBezTo>
                  <a:cubicBezTo>
                    <a:pt x="26" y="237"/>
                    <a:pt x="100" y="199"/>
                    <a:pt x="101" y="199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68" y="5"/>
                    <a:pt x="568" y="5"/>
                    <a:pt x="568" y="5"/>
                  </a:cubicBezTo>
                  <a:cubicBezTo>
                    <a:pt x="103" y="204"/>
                    <a:pt x="103" y="204"/>
                    <a:pt x="103" y="204"/>
                  </a:cubicBezTo>
                  <a:cubicBezTo>
                    <a:pt x="103" y="204"/>
                    <a:pt x="32" y="241"/>
                    <a:pt x="23" y="339"/>
                  </a:cubicBezTo>
                  <a:cubicBezTo>
                    <a:pt x="15" y="434"/>
                    <a:pt x="7" y="767"/>
                    <a:pt x="6" y="802"/>
                  </a:cubicBezTo>
                  <a:cubicBezTo>
                    <a:pt x="1481" y="802"/>
                    <a:pt x="1481" y="802"/>
                    <a:pt x="1481" y="802"/>
                  </a:cubicBezTo>
                  <a:cubicBezTo>
                    <a:pt x="1464" y="352"/>
                    <a:pt x="1464" y="352"/>
                    <a:pt x="1464" y="352"/>
                  </a:cubicBezTo>
                  <a:cubicBezTo>
                    <a:pt x="1464" y="350"/>
                    <a:pt x="1471" y="248"/>
                    <a:pt x="1354" y="198"/>
                  </a:cubicBezTo>
                  <a:cubicBezTo>
                    <a:pt x="1235" y="147"/>
                    <a:pt x="912" y="13"/>
                    <a:pt x="908" y="12"/>
                  </a:cubicBezTo>
                  <a:cubicBezTo>
                    <a:pt x="911" y="6"/>
                    <a:pt x="911" y="6"/>
                    <a:pt x="911" y="6"/>
                  </a:cubicBezTo>
                  <a:cubicBezTo>
                    <a:pt x="914" y="8"/>
                    <a:pt x="1237" y="141"/>
                    <a:pt x="1356" y="192"/>
                  </a:cubicBezTo>
                  <a:cubicBezTo>
                    <a:pt x="1477" y="244"/>
                    <a:pt x="1470" y="351"/>
                    <a:pt x="1469" y="352"/>
                  </a:cubicBezTo>
                  <a:lnTo>
                    <a:pt x="1487" y="808"/>
                  </a:ln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7" name="Freeform 13">
              <a:extLst>
                <a:ext uri="{FF2B5EF4-FFF2-40B4-BE49-F238E27FC236}">
                  <a16:creationId xmlns:a16="http://schemas.microsoft.com/office/drawing/2014/main" id="{A75E6E54-618A-470A-9BF8-635EFEB99D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0" y="2730"/>
              <a:ext cx="441" cy="405"/>
            </a:xfrm>
            <a:custGeom>
              <a:avLst/>
              <a:gdLst>
                <a:gd name="T0" fmla="*/ 221 w 441"/>
                <a:gd name="T1" fmla="*/ 405 h 405"/>
                <a:gd name="T2" fmla="*/ 0 w 441"/>
                <a:gd name="T3" fmla="*/ 250 h 405"/>
                <a:gd name="T4" fmla="*/ 34 w 441"/>
                <a:gd name="T5" fmla="*/ 0 h 405"/>
                <a:gd name="T6" fmla="*/ 407 w 441"/>
                <a:gd name="T7" fmla="*/ 0 h 405"/>
                <a:gd name="T8" fmla="*/ 441 w 441"/>
                <a:gd name="T9" fmla="*/ 250 h 405"/>
                <a:gd name="T10" fmla="*/ 221 w 441"/>
                <a:gd name="T11" fmla="*/ 405 h 405"/>
                <a:gd name="T12" fmla="*/ 14 w 441"/>
                <a:gd name="T13" fmla="*/ 246 h 405"/>
                <a:gd name="T14" fmla="*/ 221 w 441"/>
                <a:gd name="T15" fmla="*/ 389 h 405"/>
                <a:gd name="T16" fmla="*/ 428 w 441"/>
                <a:gd name="T17" fmla="*/ 246 h 405"/>
                <a:gd name="T18" fmla="*/ 396 w 441"/>
                <a:gd name="T19" fmla="*/ 14 h 405"/>
                <a:gd name="T20" fmla="*/ 46 w 441"/>
                <a:gd name="T21" fmla="*/ 14 h 405"/>
                <a:gd name="T22" fmla="*/ 14 w 441"/>
                <a:gd name="T23" fmla="*/ 246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1" h="405">
                  <a:moveTo>
                    <a:pt x="221" y="405"/>
                  </a:moveTo>
                  <a:lnTo>
                    <a:pt x="0" y="250"/>
                  </a:lnTo>
                  <a:lnTo>
                    <a:pt x="34" y="0"/>
                  </a:lnTo>
                  <a:lnTo>
                    <a:pt x="407" y="0"/>
                  </a:lnTo>
                  <a:lnTo>
                    <a:pt x="441" y="250"/>
                  </a:lnTo>
                  <a:lnTo>
                    <a:pt x="221" y="405"/>
                  </a:lnTo>
                  <a:close/>
                  <a:moveTo>
                    <a:pt x="14" y="246"/>
                  </a:moveTo>
                  <a:lnTo>
                    <a:pt x="221" y="389"/>
                  </a:lnTo>
                  <a:lnTo>
                    <a:pt x="428" y="246"/>
                  </a:lnTo>
                  <a:lnTo>
                    <a:pt x="396" y="14"/>
                  </a:lnTo>
                  <a:lnTo>
                    <a:pt x="46" y="14"/>
                  </a:lnTo>
                  <a:lnTo>
                    <a:pt x="14" y="246"/>
                  </a:ln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8" name="Freeform 14">
              <a:extLst>
                <a:ext uri="{FF2B5EF4-FFF2-40B4-BE49-F238E27FC236}">
                  <a16:creationId xmlns:a16="http://schemas.microsoft.com/office/drawing/2014/main" id="{9EC4DC26-7217-49CB-91B8-281AC30957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3" y="3030"/>
              <a:ext cx="88" cy="1281"/>
            </a:xfrm>
            <a:custGeom>
              <a:avLst/>
              <a:gdLst>
                <a:gd name="T0" fmla="*/ 75 w 88"/>
                <a:gd name="T1" fmla="*/ 1281 h 1281"/>
                <a:gd name="T2" fmla="*/ 0 w 88"/>
                <a:gd name="T3" fmla="*/ 0 h 1281"/>
                <a:gd name="T4" fmla="*/ 11 w 88"/>
                <a:gd name="T5" fmla="*/ 0 h 1281"/>
                <a:gd name="T6" fmla="*/ 88 w 88"/>
                <a:gd name="T7" fmla="*/ 1281 h 1281"/>
                <a:gd name="T8" fmla="*/ 75 w 88"/>
                <a:gd name="T9" fmla="*/ 1281 h 1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281">
                  <a:moveTo>
                    <a:pt x="75" y="1281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88" y="1281"/>
                  </a:lnTo>
                  <a:lnTo>
                    <a:pt x="75" y="1281"/>
                  </a:ln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9" name="Freeform 15">
              <a:extLst>
                <a:ext uri="{FF2B5EF4-FFF2-40B4-BE49-F238E27FC236}">
                  <a16:creationId xmlns:a16="http://schemas.microsoft.com/office/drawing/2014/main" id="{4BBAC3B0-19DD-4566-9384-F5813E683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8" y="3030"/>
              <a:ext cx="91" cy="1281"/>
            </a:xfrm>
            <a:custGeom>
              <a:avLst/>
              <a:gdLst>
                <a:gd name="T0" fmla="*/ 13 w 91"/>
                <a:gd name="T1" fmla="*/ 1281 h 1281"/>
                <a:gd name="T2" fmla="*/ 0 w 91"/>
                <a:gd name="T3" fmla="*/ 1281 h 1281"/>
                <a:gd name="T4" fmla="*/ 77 w 91"/>
                <a:gd name="T5" fmla="*/ 0 h 1281"/>
                <a:gd name="T6" fmla="*/ 91 w 91"/>
                <a:gd name="T7" fmla="*/ 0 h 1281"/>
                <a:gd name="T8" fmla="*/ 13 w 91"/>
                <a:gd name="T9" fmla="*/ 1281 h 1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281">
                  <a:moveTo>
                    <a:pt x="13" y="1281"/>
                  </a:moveTo>
                  <a:lnTo>
                    <a:pt x="0" y="1281"/>
                  </a:lnTo>
                  <a:lnTo>
                    <a:pt x="77" y="0"/>
                  </a:lnTo>
                  <a:lnTo>
                    <a:pt x="91" y="0"/>
                  </a:lnTo>
                  <a:lnTo>
                    <a:pt x="13" y="1281"/>
                  </a:ln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45C41D77-4948-4AA6-B962-1928D8A2EF65}"/>
              </a:ext>
            </a:extLst>
          </p:cNvPr>
          <p:cNvGrpSpPr/>
          <p:nvPr/>
        </p:nvGrpSpPr>
        <p:grpSpPr>
          <a:xfrm>
            <a:off x="1087702" y="4381723"/>
            <a:ext cx="98636" cy="118528"/>
            <a:chOff x="12188314" y="2681453"/>
            <a:chExt cx="1276302" cy="1596629"/>
          </a:xfrm>
          <a:solidFill>
            <a:schemeClr val="bg1"/>
          </a:solidFill>
        </p:grpSpPr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8E1E5C5A-1DCC-4A8F-A6C7-8C74BA3572E1}"/>
                </a:ext>
              </a:extLst>
            </p:cNvPr>
            <p:cNvSpPr/>
            <p:nvPr/>
          </p:nvSpPr>
          <p:spPr>
            <a:xfrm>
              <a:off x="12188314" y="2681453"/>
              <a:ext cx="1276302" cy="1596629"/>
            </a:xfrm>
            <a:custGeom>
              <a:avLst/>
              <a:gdLst>
                <a:gd name="connsiteX0" fmla="*/ 1276229 w 1276302"/>
                <a:gd name="connsiteY0" fmla="*/ 307187 h 1596629"/>
                <a:gd name="connsiteX1" fmla="*/ 1276229 w 1276302"/>
                <a:gd name="connsiteY1" fmla="*/ 669289 h 1596629"/>
                <a:gd name="connsiteX2" fmla="*/ 843900 w 1276302"/>
                <a:gd name="connsiteY2" fmla="*/ 1462396 h 1596629"/>
                <a:gd name="connsiteX3" fmla="*/ 655487 w 1276302"/>
                <a:gd name="connsiteY3" fmla="*/ 1589305 h 1596629"/>
                <a:gd name="connsiteX4" fmla="*/ 631489 w 1276302"/>
                <a:gd name="connsiteY4" fmla="*/ 1596629 h 1596629"/>
                <a:gd name="connsiteX5" fmla="*/ 607123 w 1276302"/>
                <a:gd name="connsiteY5" fmla="*/ 1589047 h 1596629"/>
                <a:gd name="connsiteX6" fmla="*/ 423533 w 1276302"/>
                <a:gd name="connsiteY6" fmla="*/ 1462617 h 1596629"/>
                <a:gd name="connsiteX7" fmla="*/ 0 w 1276302"/>
                <a:gd name="connsiteY7" fmla="*/ 675510 h 1596629"/>
                <a:gd name="connsiteX8" fmla="*/ 0 w 1276302"/>
                <a:gd name="connsiteY8" fmla="*/ 307224 h 1596629"/>
                <a:gd name="connsiteX9" fmla="*/ 13766 w 1276302"/>
                <a:gd name="connsiteY9" fmla="*/ 275754 h 1596629"/>
                <a:gd name="connsiteX10" fmla="*/ 46192 w 1276302"/>
                <a:gd name="connsiteY10" fmla="*/ 264455 h 1596629"/>
                <a:gd name="connsiteX11" fmla="*/ 111192 w 1276302"/>
                <a:gd name="connsiteY11" fmla="*/ 266921 h 1596629"/>
                <a:gd name="connsiteX12" fmla="*/ 597591 w 1276302"/>
                <a:gd name="connsiteY12" fmla="*/ 28783 h 1596629"/>
                <a:gd name="connsiteX13" fmla="*/ 638151 w 1276302"/>
                <a:gd name="connsiteY13" fmla="*/ 0 h 1596629"/>
                <a:gd name="connsiteX14" fmla="*/ 678712 w 1276302"/>
                <a:gd name="connsiteY14" fmla="*/ 28783 h 1596629"/>
                <a:gd name="connsiteX15" fmla="*/ 1165110 w 1276302"/>
                <a:gd name="connsiteY15" fmla="*/ 266921 h 1596629"/>
                <a:gd name="connsiteX16" fmla="*/ 1230111 w 1276302"/>
                <a:gd name="connsiteY16" fmla="*/ 264455 h 1596629"/>
                <a:gd name="connsiteX17" fmla="*/ 1262537 w 1276302"/>
                <a:gd name="connsiteY17" fmla="*/ 275754 h 1596629"/>
                <a:gd name="connsiteX18" fmla="*/ 1276303 w 1276302"/>
                <a:gd name="connsiteY18" fmla="*/ 307224 h 1596629"/>
                <a:gd name="connsiteX19" fmla="*/ 1276303 w 1276302"/>
                <a:gd name="connsiteY19" fmla="*/ 307224 h 1596629"/>
                <a:gd name="connsiteX20" fmla="*/ 1190360 w 1276302"/>
                <a:gd name="connsiteY20" fmla="*/ 352385 h 1596629"/>
                <a:gd name="connsiteX21" fmla="*/ 1165073 w 1276302"/>
                <a:gd name="connsiteY21" fmla="*/ 352717 h 1596629"/>
                <a:gd name="connsiteX22" fmla="*/ 638115 w 1276302"/>
                <a:gd name="connsiteY22" fmla="*/ 132687 h 1596629"/>
                <a:gd name="connsiteX23" fmla="*/ 111156 w 1276302"/>
                <a:gd name="connsiteY23" fmla="*/ 352717 h 1596629"/>
                <a:gd name="connsiteX24" fmla="*/ 85870 w 1276302"/>
                <a:gd name="connsiteY24" fmla="*/ 352385 h 1596629"/>
                <a:gd name="connsiteX25" fmla="*/ 85870 w 1276302"/>
                <a:gd name="connsiteY25" fmla="*/ 675510 h 1596629"/>
                <a:gd name="connsiteX26" fmla="*/ 472264 w 1276302"/>
                <a:gd name="connsiteY26" fmla="*/ 1391911 h 1596629"/>
                <a:gd name="connsiteX27" fmla="*/ 631747 w 1276302"/>
                <a:gd name="connsiteY27" fmla="*/ 1501742 h 1596629"/>
                <a:gd name="connsiteX28" fmla="*/ 795941 w 1276302"/>
                <a:gd name="connsiteY28" fmla="*/ 1391212 h 1596629"/>
                <a:gd name="connsiteX29" fmla="*/ 1190360 w 1276302"/>
                <a:gd name="connsiteY29" fmla="*/ 669326 h 1596629"/>
                <a:gd name="connsiteX30" fmla="*/ 1190360 w 1276302"/>
                <a:gd name="connsiteY30" fmla="*/ 352422 h 1596629"/>
                <a:gd name="connsiteX31" fmla="*/ 1190360 w 1276302"/>
                <a:gd name="connsiteY31" fmla="*/ 352422 h 1596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276302" h="1596629">
                  <a:moveTo>
                    <a:pt x="1276229" y="307187"/>
                  </a:moveTo>
                  <a:lnTo>
                    <a:pt x="1276229" y="669289"/>
                  </a:lnTo>
                  <a:cubicBezTo>
                    <a:pt x="1276229" y="983543"/>
                    <a:pt x="1114612" y="1280056"/>
                    <a:pt x="843900" y="1462396"/>
                  </a:cubicBezTo>
                  <a:lnTo>
                    <a:pt x="655487" y="1589305"/>
                  </a:lnTo>
                  <a:cubicBezTo>
                    <a:pt x="648236" y="1594200"/>
                    <a:pt x="639844" y="1596629"/>
                    <a:pt x="631489" y="1596629"/>
                  </a:cubicBezTo>
                  <a:cubicBezTo>
                    <a:pt x="623134" y="1596629"/>
                    <a:pt x="614485" y="1594126"/>
                    <a:pt x="607123" y="1589047"/>
                  </a:cubicBezTo>
                  <a:lnTo>
                    <a:pt x="423533" y="1462617"/>
                  </a:lnTo>
                  <a:cubicBezTo>
                    <a:pt x="158342" y="1279946"/>
                    <a:pt x="0" y="985715"/>
                    <a:pt x="0" y="675510"/>
                  </a:cubicBezTo>
                  <a:lnTo>
                    <a:pt x="0" y="307224"/>
                  </a:lnTo>
                  <a:cubicBezTo>
                    <a:pt x="0" y="295262"/>
                    <a:pt x="5006" y="283852"/>
                    <a:pt x="13766" y="275754"/>
                  </a:cubicBezTo>
                  <a:cubicBezTo>
                    <a:pt x="22526" y="267657"/>
                    <a:pt x="33862" y="263535"/>
                    <a:pt x="46192" y="264455"/>
                  </a:cubicBezTo>
                  <a:cubicBezTo>
                    <a:pt x="67503" y="266037"/>
                    <a:pt x="89145" y="266921"/>
                    <a:pt x="111192" y="266921"/>
                  </a:cubicBezTo>
                  <a:cubicBezTo>
                    <a:pt x="363575" y="266921"/>
                    <a:pt x="556699" y="145864"/>
                    <a:pt x="597591" y="28783"/>
                  </a:cubicBezTo>
                  <a:cubicBezTo>
                    <a:pt x="603627" y="11557"/>
                    <a:pt x="619895" y="0"/>
                    <a:pt x="638151" y="0"/>
                  </a:cubicBezTo>
                  <a:cubicBezTo>
                    <a:pt x="656407" y="0"/>
                    <a:pt x="672676" y="11520"/>
                    <a:pt x="678712" y="28783"/>
                  </a:cubicBezTo>
                  <a:cubicBezTo>
                    <a:pt x="719604" y="145864"/>
                    <a:pt x="912691" y="266921"/>
                    <a:pt x="1165110" y="266921"/>
                  </a:cubicBezTo>
                  <a:cubicBezTo>
                    <a:pt x="1187157" y="266921"/>
                    <a:pt x="1208800" y="266037"/>
                    <a:pt x="1230111" y="264455"/>
                  </a:cubicBezTo>
                  <a:cubicBezTo>
                    <a:pt x="1242441" y="263535"/>
                    <a:pt x="1253814" y="267694"/>
                    <a:pt x="1262537" y="275754"/>
                  </a:cubicBezTo>
                  <a:cubicBezTo>
                    <a:pt x="1271297" y="283889"/>
                    <a:pt x="1276303" y="295299"/>
                    <a:pt x="1276303" y="307224"/>
                  </a:cubicBezTo>
                  <a:lnTo>
                    <a:pt x="1276303" y="307224"/>
                  </a:lnTo>
                  <a:close/>
                  <a:moveTo>
                    <a:pt x="1190360" y="352385"/>
                  </a:moveTo>
                  <a:cubicBezTo>
                    <a:pt x="1181968" y="352606"/>
                    <a:pt x="1173539" y="352717"/>
                    <a:pt x="1165073" y="352717"/>
                  </a:cubicBezTo>
                  <a:cubicBezTo>
                    <a:pt x="941768" y="352717"/>
                    <a:pt x="733223" y="262210"/>
                    <a:pt x="638115" y="132687"/>
                  </a:cubicBezTo>
                  <a:cubicBezTo>
                    <a:pt x="543007" y="262210"/>
                    <a:pt x="334461" y="352717"/>
                    <a:pt x="111156" y="352717"/>
                  </a:cubicBezTo>
                  <a:cubicBezTo>
                    <a:pt x="102690" y="352717"/>
                    <a:pt x="94261" y="352569"/>
                    <a:pt x="85870" y="352385"/>
                  </a:cubicBezTo>
                  <a:lnTo>
                    <a:pt x="85870" y="675510"/>
                  </a:lnTo>
                  <a:cubicBezTo>
                    <a:pt x="85870" y="957484"/>
                    <a:pt x="230298" y="1225252"/>
                    <a:pt x="472264" y="1391911"/>
                  </a:cubicBezTo>
                  <a:lnTo>
                    <a:pt x="631747" y="1501742"/>
                  </a:lnTo>
                  <a:lnTo>
                    <a:pt x="795941" y="1391212"/>
                  </a:lnTo>
                  <a:cubicBezTo>
                    <a:pt x="1042949" y="1224810"/>
                    <a:pt x="1190360" y="954981"/>
                    <a:pt x="1190360" y="669326"/>
                  </a:cubicBezTo>
                  <a:lnTo>
                    <a:pt x="1190360" y="352422"/>
                  </a:lnTo>
                  <a:lnTo>
                    <a:pt x="1190360" y="352422"/>
                  </a:lnTo>
                  <a:close/>
                </a:path>
              </a:pathLst>
            </a:custGeom>
            <a:grpFill/>
            <a:ln w="36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1B492832-9472-4CED-9E49-2945E5268F50}"/>
                </a:ext>
              </a:extLst>
            </p:cNvPr>
            <p:cNvSpPr/>
            <p:nvPr/>
          </p:nvSpPr>
          <p:spPr>
            <a:xfrm>
              <a:off x="12549717" y="3270420"/>
              <a:ext cx="553463" cy="418662"/>
            </a:xfrm>
            <a:custGeom>
              <a:avLst/>
              <a:gdLst>
                <a:gd name="connsiteX0" fmla="*/ 538737 w 553463"/>
                <a:gd name="connsiteY0" fmla="*/ 10538 h 418662"/>
                <a:gd name="connsiteX1" fmla="*/ 542896 w 553463"/>
                <a:gd name="connsiteY1" fmla="*/ 71121 h 418662"/>
                <a:gd name="connsiteX2" fmla="*/ 269792 w 553463"/>
                <a:gd name="connsiteY2" fmla="*/ 384234 h 418662"/>
                <a:gd name="connsiteX3" fmla="*/ 229746 w 553463"/>
                <a:gd name="connsiteY3" fmla="*/ 417470 h 418662"/>
                <a:gd name="connsiteX4" fmla="*/ 168868 w 553463"/>
                <a:gd name="connsiteY4" fmla="*/ 385154 h 418662"/>
                <a:gd name="connsiteX5" fmla="*/ 12588 w 553463"/>
                <a:gd name="connsiteY5" fmla="*/ 228874 h 418662"/>
                <a:gd name="connsiteX6" fmla="*/ 12588 w 553463"/>
                <a:gd name="connsiteY6" fmla="*/ 168143 h 418662"/>
                <a:gd name="connsiteX7" fmla="*/ 73319 w 553463"/>
                <a:gd name="connsiteY7" fmla="*/ 168143 h 418662"/>
                <a:gd name="connsiteX8" fmla="*/ 218079 w 553463"/>
                <a:gd name="connsiteY8" fmla="*/ 312903 h 418662"/>
                <a:gd name="connsiteX9" fmla="*/ 478153 w 553463"/>
                <a:gd name="connsiteY9" fmla="*/ 14697 h 418662"/>
                <a:gd name="connsiteX10" fmla="*/ 538737 w 553463"/>
                <a:gd name="connsiteY10" fmla="*/ 10538 h 418662"/>
                <a:gd name="connsiteX11" fmla="*/ 538737 w 553463"/>
                <a:gd name="connsiteY11" fmla="*/ 10538 h 418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3463" h="418662">
                  <a:moveTo>
                    <a:pt x="538737" y="10538"/>
                  </a:moveTo>
                  <a:cubicBezTo>
                    <a:pt x="556625" y="26144"/>
                    <a:pt x="558465" y="53270"/>
                    <a:pt x="542896" y="71121"/>
                  </a:cubicBezTo>
                  <a:cubicBezTo>
                    <a:pt x="523904" y="92911"/>
                    <a:pt x="302918" y="346839"/>
                    <a:pt x="269792" y="384234"/>
                  </a:cubicBezTo>
                  <a:cubicBezTo>
                    <a:pt x="258308" y="397190"/>
                    <a:pt x="247597" y="413017"/>
                    <a:pt x="229746" y="417470"/>
                  </a:cubicBezTo>
                  <a:cubicBezTo>
                    <a:pt x="203282" y="424096"/>
                    <a:pt x="185431" y="401680"/>
                    <a:pt x="168868" y="385154"/>
                  </a:cubicBezTo>
                  <a:lnTo>
                    <a:pt x="12588" y="228874"/>
                  </a:lnTo>
                  <a:cubicBezTo>
                    <a:pt x="-4196" y="212090"/>
                    <a:pt x="-4196" y="184927"/>
                    <a:pt x="12588" y="168143"/>
                  </a:cubicBezTo>
                  <a:cubicBezTo>
                    <a:pt x="29372" y="151359"/>
                    <a:pt x="56535" y="151359"/>
                    <a:pt x="73319" y="168143"/>
                  </a:cubicBezTo>
                  <a:lnTo>
                    <a:pt x="218079" y="312903"/>
                  </a:lnTo>
                  <a:lnTo>
                    <a:pt x="478153" y="14697"/>
                  </a:lnTo>
                  <a:cubicBezTo>
                    <a:pt x="493833" y="-3191"/>
                    <a:pt x="520923" y="-4958"/>
                    <a:pt x="538737" y="10538"/>
                  </a:cubicBezTo>
                  <a:lnTo>
                    <a:pt x="538737" y="10538"/>
                  </a:lnTo>
                  <a:close/>
                </a:path>
              </a:pathLst>
            </a:custGeom>
            <a:grpFill/>
            <a:ln w="36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sp>
        <p:nvSpPr>
          <p:cNvPr id="141" name="TextBox 140">
            <a:extLst>
              <a:ext uri="{FF2B5EF4-FFF2-40B4-BE49-F238E27FC236}">
                <a16:creationId xmlns:a16="http://schemas.microsoft.com/office/drawing/2014/main" id="{358E4858-B4C7-4B3C-ABF1-6A33F572392B}"/>
              </a:ext>
            </a:extLst>
          </p:cNvPr>
          <p:cNvSpPr txBox="1"/>
          <p:nvPr/>
        </p:nvSpPr>
        <p:spPr>
          <a:xfrm>
            <a:off x="9232161" y="6413631"/>
            <a:ext cx="200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pc="55" dirty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t>211618_001</a:t>
            </a:r>
          </a:p>
        </p:txBody>
      </p:sp>
    </p:spTree>
    <p:extLst>
      <p:ext uri="{BB962C8B-B14F-4D97-AF65-F5344CB8AC3E}">
        <p14:creationId xmlns:p14="http://schemas.microsoft.com/office/powerpoint/2010/main" val="20758184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659FA41-A2AC-4FDC-93A9-70A460FCA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80520"/>
            <a:ext cx="11430000" cy="958265"/>
          </a:xfrm>
        </p:spPr>
        <p:txBody>
          <a:bodyPr/>
          <a:lstStyle/>
          <a:p>
            <a:r>
              <a:rPr lang="en-US" sz="2300" dirty="0"/>
              <a:t>Architecture diagram of the application</a:t>
            </a:r>
            <a:endParaRPr lang="en-IN" sz="2300" dirty="0"/>
          </a:p>
        </p:txBody>
      </p:sp>
      <p:sp>
        <p:nvSpPr>
          <p:cNvPr id="163" name="Freeform 9">
            <a:extLst>
              <a:ext uri="{FF2B5EF4-FFF2-40B4-BE49-F238E27FC236}">
                <a16:creationId xmlns:a16="http://schemas.microsoft.com/office/drawing/2014/main" id="{E80A431A-1CEC-4E4E-8A3E-7C70E720F73D}"/>
              </a:ext>
            </a:extLst>
          </p:cNvPr>
          <p:cNvSpPr>
            <a:spLocks/>
          </p:cNvSpPr>
          <p:nvPr/>
        </p:nvSpPr>
        <p:spPr bwMode="auto">
          <a:xfrm>
            <a:off x="381000" y="1154107"/>
            <a:ext cx="7362505" cy="357471"/>
          </a:xfrm>
          <a:custGeom>
            <a:avLst/>
            <a:gdLst>
              <a:gd name="T0" fmla="*/ 7814 w 8493"/>
              <a:gd name="T1" fmla="*/ 545 h 545"/>
              <a:gd name="T2" fmla="*/ 0 w 8493"/>
              <a:gd name="T3" fmla="*/ 545 h 545"/>
              <a:gd name="T4" fmla="*/ 0 w 8493"/>
              <a:gd name="T5" fmla="*/ 0 h 545"/>
              <a:gd name="T6" fmla="*/ 8493 w 8493"/>
              <a:gd name="T7" fmla="*/ 0 h 545"/>
              <a:gd name="T8" fmla="*/ 7814 w 8493"/>
              <a:gd name="T9" fmla="*/ 545 h 545"/>
              <a:gd name="connsiteX0" fmla="*/ 9201 w 9595"/>
              <a:gd name="connsiteY0" fmla="*/ 10181 h 10181"/>
              <a:gd name="connsiteX1" fmla="*/ 0 w 9595"/>
              <a:gd name="connsiteY1" fmla="*/ 10181 h 10181"/>
              <a:gd name="connsiteX2" fmla="*/ 0 w 9595"/>
              <a:gd name="connsiteY2" fmla="*/ 181 h 10181"/>
              <a:gd name="connsiteX3" fmla="*/ 9595 w 9595"/>
              <a:gd name="connsiteY3" fmla="*/ 0 h 10181"/>
              <a:gd name="connsiteX4" fmla="*/ 9201 w 9595"/>
              <a:gd name="connsiteY4" fmla="*/ 10181 h 10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95" h="10181">
                <a:moveTo>
                  <a:pt x="9201" y="10181"/>
                </a:moveTo>
                <a:lnTo>
                  <a:pt x="0" y="10181"/>
                </a:lnTo>
                <a:lnTo>
                  <a:pt x="0" y="181"/>
                </a:lnTo>
                <a:lnTo>
                  <a:pt x="9595" y="0"/>
                </a:lnTo>
                <a:cubicBezTo>
                  <a:pt x="9464" y="3394"/>
                  <a:pt x="9332" y="6787"/>
                  <a:pt x="9201" y="10181"/>
                </a:cubicBezTo>
                <a:close/>
              </a:path>
            </a:pathLst>
          </a:custGeo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18000000" scaled="0"/>
          </a:gradFill>
        </p:spPr>
        <p:txBody>
          <a:bodyPr wrap="square" lIns="0" tIns="0" rIns="0" bIns="0" rtlCol="0" anchor="ctr"/>
          <a:lstStyle/>
          <a:p>
            <a:pPr marL="108000" lvl="1"/>
            <a:r>
              <a:rPr lang="en-US" sz="1400" b="1" dirty="0">
                <a:solidFill>
                  <a:schemeClr val="bg1"/>
                </a:solidFill>
              </a:rPr>
              <a:t>Technical Architectu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11F82BE-CE42-A457-0414-1AE07D630655}"/>
              </a:ext>
            </a:extLst>
          </p:cNvPr>
          <p:cNvSpPr txBox="1">
            <a:spLocks/>
          </p:cNvSpPr>
          <p:nvPr/>
        </p:nvSpPr>
        <p:spPr>
          <a:xfrm>
            <a:off x="10358262" y="577843"/>
            <a:ext cx="1317076" cy="682598"/>
          </a:xfrm>
          <a:prstGeom prst="rect">
            <a:avLst/>
          </a:prstGeom>
          <a:noFill/>
          <a:ln>
            <a:noFill/>
          </a:ln>
        </p:spPr>
        <p:txBody>
          <a:bodyPr lIns="36000" tIns="36000" rIns="36000" bIns="36000" anchor="ctr"/>
          <a:lstStyle>
            <a:lvl1pPr marL="349250" indent="-3492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7550" indent="-3619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3619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5100" indent="-3619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Wingdings 3" panose="05040102010807070707" pitchFamily="18" charset="2"/>
              <a:buChar char="}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7050" indent="-3619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 3" panose="05040102010807070707" pitchFamily="18" charset="2"/>
              <a:buChar char="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b="1" dirty="0">
                <a:solidFill>
                  <a:schemeClr val="bg2"/>
                </a:solidFill>
                <a:cs typeface="Arial" panose="020B0604020202020204" pitchFamily="34" charset="0"/>
              </a:rPr>
              <a:t>Competency Skill Matrix</a:t>
            </a:r>
            <a:endParaRPr lang="en-US" b="1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C919B90-9B7E-EAC6-4F16-7EE447AB80F3}"/>
              </a:ext>
            </a:extLst>
          </p:cNvPr>
          <p:cNvSpPr/>
          <p:nvPr/>
        </p:nvSpPr>
        <p:spPr>
          <a:xfrm>
            <a:off x="2188556" y="1736725"/>
            <a:ext cx="9638320" cy="441518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416A97-BB19-3A72-FC68-6D246BBD8F4B}"/>
              </a:ext>
            </a:extLst>
          </p:cNvPr>
          <p:cNvSpPr/>
          <p:nvPr/>
        </p:nvSpPr>
        <p:spPr>
          <a:xfrm>
            <a:off x="857813" y="3753236"/>
            <a:ext cx="620712" cy="65666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" tIns="36576" rIns="36576" bIns="36576" rtlCol="0" anchor="t" anchorCtr="0"/>
          <a:lstStyle/>
          <a:p>
            <a:pPr algn="l">
              <a:buClr>
                <a:schemeClr val="accent1"/>
              </a:buClr>
              <a:buSzPct val="120000"/>
            </a:pPr>
            <a:endParaRPr lang="en-GB" sz="1100">
              <a:solidFill>
                <a:schemeClr val="tx1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A6AA02C-58FB-CDA8-0037-31A2B7A10EA1}"/>
              </a:ext>
            </a:extLst>
          </p:cNvPr>
          <p:cNvSpPr txBox="1"/>
          <p:nvPr/>
        </p:nvSpPr>
        <p:spPr>
          <a:xfrm>
            <a:off x="1034338" y="4169736"/>
            <a:ext cx="29815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IN" sz="110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User</a:t>
            </a:r>
            <a:endParaRPr lang="en-GB" sz="11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48" name="Group 4">
            <a:extLst>
              <a:ext uri="{FF2B5EF4-FFF2-40B4-BE49-F238E27FC236}">
                <a16:creationId xmlns:a16="http://schemas.microsoft.com/office/drawing/2014/main" id="{6E8C1369-9CED-5EC7-17B4-FBD046F686D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3096" y="3797823"/>
            <a:ext cx="410146" cy="292986"/>
            <a:chOff x="819" y="2"/>
            <a:chExt cx="6042" cy="4316"/>
          </a:xfrm>
        </p:grpSpPr>
        <p:sp>
          <p:nvSpPr>
            <p:cNvPr id="49" name="Freeform 5">
              <a:extLst>
                <a:ext uri="{FF2B5EF4-FFF2-40B4-BE49-F238E27FC236}">
                  <a16:creationId xmlns:a16="http://schemas.microsoft.com/office/drawing/2014/main" id="{C697ED43-A4CA-A145-648F-606F885F0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5" y="262"/>
              <a:ext cx="1415" cy="2124"/>
            </a:xfrm>
            <a:custGeom>
              <a:avLst/>
              <a:gdLst>
                <a:gd name="T0" fmla="*/ 256 w 622"/>
                <a:gd name="T1" fmla="*/ 934 h 934"/>
                <a:gd name="T2" fmla="*/ 228 w 622"/>
                <a:gd name="T3" fmla="*/ 934 h 934"/>
                <a:gd name="T4" fmla="*/ 0 w 622"/>
                <a:gd name="T5" fmla="*/ 767 h 934"/>
                <a:gd name="T6" fmla="*/ 5 w 622"/>
                <a:gd name="T7" fmla="*/ 764 h 934"/>
                <a:gd name="T8" fmla="*/ 228 w 622"/>
                <a:gd name="T9" fmla="*/ 928 h 934"/>
                <a:gd name="T10" fmla="*/ 256 w 622"/>
                <a:gd name="T11" fmla="*/ 928 h 934"/>
                <a:gd name="T12" fmla="*/ 520 w 622"/>
                <a:gd name="T13" fmla="*/ 691 h 934"/>
                <a:gd name="T14" fmla="*/ 520 w 622"/>
                <a:gd name="T15" fmla="*/ 690 h 934"/>
                <a:gd name="T16" fmla="*/ 522 w 622"/>
                <a:gd name="T17" fmla="*/ 689 h 934"/>
                <a:gd name="T18" fmla="*/ 608 w 622"/>
                <a:gd name="T19" fmla="*/ 537 h 934"/>
                <a:gd name="T20" fmla="*/ 602 w 622"/>
                <a:gd name="T21" fmla="*/ 471 h 934"/>
                <a:gd name="T22" fmla="*/ 573 w 622"/>
                <a:gd name="T23" fmla="*/ 464 h 934"/>
                <a:gd name="T24" fmla="*/ 570 w 622"/>
                <a:gd name="T25" fmla="*/ 465 h 934"/>
                <a:gd name="T26" fmla="*/ 570 w 622"/>
                <a:gd name="T27" fmla="*/ 311 h 934"/>
                <a:gd name="T28" fmla="*/ 264 w 622"/>
                <a:gd name="T29" fmla="*/ 6 h 934"/>
                <a:gd name="T30" fmla="*/ 220 w 622"/>
                <a:gd name="T31" fmla="*/ 6 h 934"/>
                <a:gd name="T32" fmla="*/ 30 w 622"/>
                <a:gd name="T33" fmla="*/ 72 h 934"/>
                <a:gd name="T34" fmla="*/ 26 w 622"/>
                <a:gd name="T35" fmla="*/ 67 h 934"/>
                <a:gd name="T36" fmla="*/ 220 w 622"/>
                <a:gd name="T37" fmla="*/ 0 h 934"/>
                <a:gd name="T38" fmla="*/ 264 w 622"/>
                <a:gd name="T39" fmla="*/ 0 h 934"/>
                <a:gd name="T40" fmla="*/ 575 w 622"/>
                <a:gd name="T41" fmla="*/ 311 h 934"/>
                <a:gd name="T42" fmla="*/ 575 w 622"/>
                <a:gd name="T43" fmla="*/ 458 h 934"/>
                <a:gd name="T44" fmla="*/ 606 w 622"/>
                <a:gd name="T45" fmla="*/ 466 h 934"/>
                <a:gd name="T46" fmla="*/ 614 w 622"/>
                <a:gd name="T47" fmla="*/ 538 h 934"/>
                <a:gd name="T48" fmla="*/ 525 w 622"/>
                <a:gd name="T49" fmla="*/ 695 h 934"/>
                <a:gd name="T50" fmla="*/ 256 w 622"/>
                <a:gd name="T51" fmla="*/ 934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2" h="934">
                  <a:moveTo>
                    <a:pt x="256" y="934"/>
                  </a:moveTo>
                  <a:cubicBezTo>
                    <a:pt x="228" y="934"/>
                    <a:pt x="228" y="934"/>
                    <a:pt x="228" y="934"/>
                  </a:cubicBezTo>
                  <a:cubicBezTo>
                    <a:pt x="108" y="934"/>
                    <a:pt x="34" y="829"/>
                    <a:pt x="0" y="767"/>
                  </a:cubicBezTo>
                  <a:cubicBezTo>
                    <a:pt x="5" y="764"/>
                    <a:pt x="5" y="764"/>
                    <a:pt x="5" y="764"/>
                  </a:cubicBezTo>
                  <a:cubicBezTo>
                    <a:pt x="38" y="826"/>
                    <a:pt x="111" y="928"/>
                    <a:pt x="228" y="928"/>
                  </a:cubicBezTo>
                  <a:cubicBezTo>
                    <a:pt x="256" y="928"/>
                    <a:pt x="256" y="928"/>
                    <a:pt x="256" y="928"/>
                  </a:cubicBezTo>
                  <a:cubicBezTo>
                    <a:pt x="420" y="928"/>
                    <a:pt x="519" y="694"/>
                    <a:pt x="520" y="691"/>
                  </a:cubicBezTo>
                  <a:cubicBezTo>
                    <a:pt x="520" y="690"/>
                    <a:pt x="520" y="690"/>
                    <a:pt x="520" y="690"/>
                  </a:cubicBezTo>
                  <a:cubicBezTo>
                    <a:pt x="522" y="689"/>
                    <a:pt x="522" y="689"/>
                    <a:pt x="522" y="689"/>
                  </a:cubicBezTo>
                  <a:cubicBezTo>
                    <a:pt x="563" y="681"/>
                    <a:pt x="590" y="633"/>
                    <a:pt x="608" y="537"/>
                  </a:cubicBezTo>
                  <a:cubicBezTo>
                    <a:pt x="615" y="504"/>
                    <a:pt x="613" y="481"/>
                    <a:pt x="602" y="471"/>
                  </a:cubicBezTo>
                  <a:cubicBezTo>
                    <a:pt x="590" y="460"/>
                    <a:pt x="573" y="464"/>
                    <a:pt x="573" y="464"/>
                  </a:cubicBezTo>
                  <a:cubicBezTo>
                    <a:pt x="570" y="465"/>
                    <a:pt x="570" y="465"/>
                    <a:pt x="570" y="465"/>
                  </a:cubicBezTo>
                  <a:cubicBezTo>
                    <a:pt x="570" y="311"/>
                    <a:pt x="570" y="311"/>
                    <a:pt x="570" y="311"/>
                  </a:cubicBezTo>
                  <a:cubicBezTo>
                    <a:pt x="570" y="143"/>
                    <a:pt x="432" y="6"/>
                    <a:pt x="264" y="6"/>
                  </a:cubicBezTo>
                  <a:cubicBezTo>
                    <a:pt x="220" y="6"/>
                    <a:pt x="220" y="6"/>
                    <a:pt x="220" y="6"/>
                  </a:cubicBezTo>
                  <a:cubicBezTo>
                    <a:pt x="150" y="6"/>
                    <a:pt x="85" y="29"/>
                    <a:pt x="30" y="72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82" y="23"/>
                    <a:pt x="149" y="0"/>
                    <a:pt x="220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436" y="0"/>
                    <a:pt x="575" y="140"/>
                    <a:pt x="575" y="311"/>
                  </a:cubicBezTo>
                  <a:cubicBezTo>
                    <a:pt x="575" y="458"/>
                    <a:pt x="575" y="458"/>
                    <a:pt x="575" y="458"/>
                  </a:cubicBezTo>
                  <a:cubicBezTo>
                    <a:pt x="582" y="457"/>
                    <a:pt x="595" y="456"/>
                    <a:pt x="606" y="466"/>
                  </a:cubicBezTo>
                  <a:cubicBezTo>
                    <a:pt x="619" y="479"/>
                    <a:pt x="622" y="503"/>
                    <a:pt x="614" y="538"/>
                  </a:cubicBezTo>
                  <a:cubicBezTo>
                    <a:pt x="603" y="600"/>
                    <a:pt x="581" y="682"/>
                    <a:pt x="525" y="695"/>
                  </a:cubicBezTo>
                  <a:cubicBezTo>
                    <a:pt x="516" y="715"/>
                    <a:pt x="417" y="934"/>
                    <a:pt x="256" y="934"/>
                  </a:cubicBez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6AD49821-DDDE-2E57-A3DA-DEAFDF101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2" y="2418"/>
              <a:ext cx="1089" cy="1492"/>
            </a:xfrm>
            <a:custGeom>
              <a:avLst/>
              <a:gdLst>
                <a:gd name="T0" fmla="*/ 479 w 479"/>
                <a:gd name="T1" fmla="*/ 656 h 656"/>
                <a:gd name="T2" fmla="*/ 0 w 479"/>
                <a:gd name="T3" fmla="*/ 656 h 656"/>
                <a:gd name="T4" fmla="*/ 0 w 479"/>
                <a:gd name="T5" fmla="*/ 650 h 656"/>
                <a:gd name="T6" fmla="*/ 473 w 479"/>
                <a:gd name="T7" fmla="*/ 650 h 656"/>
                <a:gd name="T8" fmla="*/ 458 w 479"/>
                <a:gd name="T9" fmla="*/ 270 h 656"/>
                <a:gd name="T10" fmla="*/ 365 w 479"/>
                <a:gd name="T11" fmla="*/ 140 h 656"/>
                <a:gd name="T12" fmla="*/ 44 w 479"/>
                <a:gd name="T13" fmla="*/ 5 h 656"/>
                <a:gd name="T14" fmla="*/ 47 w 479"/>
                <a:gd name="T15" fmla="*/ 0 h 656"/>
                <a:gd name="T16" fmla="*/ 368 w 479"/>
                <a:gd name="T17" fmla="*/ 134 h 656"/>
                <a:gd name="T18" fmla="*/ 464 w 479"/>
                <a:gd name="T19" fmla="*/ 270 h 656"/>
                <a:gd name="T20" fmla="*/ 479 w 479"/>
                <a:gd name="T2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9" h="656">
                  <a:moveTo>
                    <a:pt x="479" y="656"/>
                  </a:moveTo>
                  <a:cubicBezTo>
                    <a:pt x="0" y="656"/>
                    <a:pt x="0" y="656"/>
                    <a:pt x="0" y="656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473" y="650"/>
                    <a:pt x="473" y="650"/>
                    <a:pt x="473" y="650"/>
                  </a:cubicBezTo>
                  <a:cubicBezTo>
                    <a:pt x="458" y="270"/>
                    <a:pt x="458" y="270"/>
                    <a:pt x="458" y="270"/>
                  </a:cubicBezTo>
                  <a:cubicBezTo>
                    <a:pt x="458" y="268"/>
                    <a:pt x="464" y="182"/>
                    <a:pt x="365" y="140"/>
                  </a:cubicBezTo>
                  <a:cubicBezTo>
                    <a:pt x="265" y="96"/>
                    <a:pt x="46" y="6"/>
                    <a:pt x="44" y="5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1"/>
                    <a:pt x="267" y="91"/>
                    <a:pt x="368" y="134"/>
                  </a:cubicBezTo>
                  <a:cubicBezTo>
                    <a:pt x="470" y="178"/>
                    <a:pt x="464" y="269"/>
                    <a:pt x="464" y="270"/>
                  </a:cubicBezTo>
                  <a:lnTo>
                    <a:pt x="479" y="656"/>
                  </a:ln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1" name="Freeform 7">
              <a:extLst>
                <a:ext uri="{FF2B5EF4-FFF2-40B4-BE49-F238E27FC236}">
                  <a16:creationId xmlns:a16="http://schemas.microsoft.com/office/drawing/2014/main" id="{8E2F7951-D0F3-5656-2B38-31AB09392F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0" y="2395"/>
              <a:ext cx="191" cy="167"/>
            </a:xfrm>
            <a:custGeom>
              <a:avLst/>
              <a:gdLst>
                <a:gd name="T0" fmla="*/ 9 w 191"/>
                <a:gd name="T1" fmla="*/ 167 h 167"/>
                <a:gd name="T2" fmla="*/ 0 w 191"/>
                <a:gd name="T3" fmla="*/ 157 h 167"/>
                <a:gd name="T4" fmla="*/ 184 w 191"/>
                <a:gd name="T5" fmla="*/ 0 h 167"/>
                <a:gd name="T6" fmla="*/ 191 w 191"/>
                <a:gd name="T7" fmla="*/ 10 h 167"/>
                <a:gd name="T8" fmla="*/ 9 w 191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67">
                  <a:moveTo>
                    <a:pt x="9" y="167"/>
                  </a:moveTo>
                  <a:lnTo>
                    <a:pt x="0" y="157"/>
                  </a:lnTo>
                  <a:lnTo>
                    <a:pt x="184" y="0"/>
                  </a:lnTo>
                  <a:lnTo>
                    <a:pt x="191" y="10"/>
                  </a:lnTo>
                  <a:lnTo>
                    <a:pt x="9" y="167"/>
                  </a:ln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2" name="Freeform 8">
              <a:extLst>
                <a:ext uri="{FF2B5EF4-FFF2-40B4-BE49-F238E27FC236}">
                  <a16:creationId xmlns:a16="http://schemas.microsoft.com/office/drawing/2014/main" id="{EE94BA5B-BBC4-C9A4-935A-63D8373E6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0" y="262"/>
              <a:ext cx="1415" cy="2124"/>
            </a:xfrm>
            <a:custGeom>
              <a:avLst/>
              <a:gdLst>
                <a:gd name="T0" fmla="*/ 394 w 622"/>
                <a:gd name="T1" fmla="*/ 934 h 934"/>
                <a:gd name="T2" fmla="*/ 366 w 622"/>
                <a:gd name="T3" fmla="*/ 934 h 934"/>
                <a:gd name="T4" fmla="*/ 97 w 622"/>
                <a:gd name="T5" fmla="*/ 695 h 934"/>
                <a:gd name="T6" fmla="*/ 8 w 622"/>
                <a:gd name="T7" fmla="*/ 538 h 934"/>
                <a:gd name="T8" fmla="*/ 16 w 622"/>
                <a:gd name="T9" fmla="*/ 466 h 934"/>
                <a:gd name="T10" fmla="*/ 46 w 622"/>
                <a:gd name="T11" fmla="*/ 458 h 934"/>
                <a:gd name="T12" fmla="*/ 46 w 622"/>
                <a:gd name="T13" fmla="*/ 311 h 934"/>
                <a:gd name="T14" fmla="*/ 358 w 622"/>
                <a:gd name="T15" fmla="*/ 0 h 934"/>
                <a:gd name="T16" fmla="*/ 402 w 622"/>
                <a:gd name="T17" fmla="*/ 0 h 934"/>
                <a:gd name="T18" fmla="*/ 595 w 622"/>
                <a:gd name="T19" fmla="*/ 67 h 934"/>
                <a:gd name="T20" fmla="*/ 592 w 622"/>
                <a:gd name="T21" fmla="*/ 72 h 934"/>
                <a:gd name="T22" fmla="*/ 402 w 622"/>
                <a:gd name="T23" fmla="*/ 6 h 934"/>
                <a:gd name="T24" fmla="*/ 358 w 622"/>
                <a:gd name="T25" fmla="*/ 6 h 934"/>
                <a:gd name="T26" fmla="*/ 52 w 622"/>
                <a:gd name="T27" fmla="*/ 311 h 934"/>
                <a:gd name="T28" fmla="*/ 52 w 622"/>
                <a:gd name="T29" fmla="*/ 465 h 934"/>
                <a:gd name="T30" fmla="*/ 48 w 622"/>
                <a:gd name="T31" fmla="*/ 464 h 934"/>
                <a:gd name="T32" fmla="*/ 20 w 622"/>
                <a:gd name="T33" fmla="*/ 471 h 934"/>
                <a:gd name="T34" fmla="*/ 13 w 622"/>
                <a:gd name="T35" fmla="*/ 537 h 934"/>
                <a:gd name="T36" fmla="*/ 100 w 622"/>
                <a:gd name="T37" fmla="*/ 689 h 934"/>
                <a:gd name="T38" fmla="*/ 101 w 622"/>
                <a:gd name="T39" fmla="*/ 690 h 934"/>
                <a:gd name="T40" fmla="*/ 102 w 622"/>
                <a:gd name="T41" fmla="*/ 691 h 934"/>
                <a:gd name="T42" fmla="*/ 366 w 622"/>
                <a:gd name="T43" fmla="*/ 928 h 934"/>
                <a:gd name="T44" fmla="*/ 394 w 622"/>
                <a:gd name="T45" fmla="*/ 928 h 934"/>
                <a:gd name="T46" fmla="*/ 617 w 622"/>
                <a:gd name="T47" fmla="*/ 764 h 934"/>
                <a:gd name="T48" fmla="*/ 622 w 622"/>
                <a:gd name="T49" fmla="*/ 767 h 934"/>
                <a:gd name="T50" fmla="*/ 394 w 622"/>
                <a:gd name="T51" fmla="*/ 934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2" h="934">
                  <a:moveTo>
                    <a:pt x="394" y="934"/>
                  </a:moveTo>
                  <a:cubicBezTo>
                    <a:pt x="366" y="934"/>
                    <a:pt x="366" y="934"/>
                    <a:pt x="366" y="934"/>
                  </a:cubicBezTo>
                  <a:cubicBezTo>
                    <a:pt x="205" y="934"/>
                    <a:pt x="106" y="715"/>
                    <a:pt x="97" y="695"/>
                  </a:cubicBezTo>
                  <a:cubicBezTo>
                    <a:pt x="41" y="682"/>
                    <a:pt x="19" y="600"/>
                    <a:pt x="8" y="538"/>
                  </a:cubicBezTo>
                  <a:cubicBezTo>
                    <a:pt x="0" y="503"/>
                    <a:pt x="3" y="479"/>
                    <a:pt x="16" y="466"/>
                  </a:cubicBezTo>
                  <a:cubicBezTo>
                    <a:pt x="26" y="457"/>
                    <a:pt x="40" y="457"/>
                    <a:pt x="46" y="458"/>
                  </a:cubicBezTo>
                  <a:cubicBezTo>
                    <a:pt x="46" y="311"/>
                    <a:pt x="46" y="311"/>
                    <a:pt x="46" y="311"/>
                  </a:cubicBezTo>
                  <a:cubicBezTo>
                    <a:pt x="46" y="140"/>
                    <a:pt x="186" y="0"/>
                    <a:pt x="358" y="0"/>
                  </a:cubicBezTo>
                  <a:cubicBezTo>
                    <a:pt x="402" y="0"/>
                    <a:pt x="402" y="0"/>
                    <a:pt x="402" y="0"/>
                  </a:cubicBezTo>
                  <a:cubicBezTo>
                    <a:pt x="473" y="0"/>
                    <a:pt x="540" y="23"/>
                    <a:pt x="595" y="67"/>
                  </a:cubicBezTo>
                  <a:cubicBezTo>
                    <a:pt x="592" y="72"/>
                    <a:pt x="592" y="72"/>
                    <a:pt x="592" y="72"/>
                  </a:cubicBezTo>
                  <a:cubicBezTo>
                    <a:pt x="537" y="29"/>
                    <a:pt x="472" y="6"/>
                    <a:pt x="402" y="6"/>
                  </a:cubicBezTo>
                  <a:cubicBezTo>
                    <a:pt x="358" y="6"/>
                    <a:pt x="358" y="6"/>
                    <a:pt x="358" y="6"/>
                  </a:cubicBezTo>
                  <a:cubicBezTo>
                    <a:pt x="189" y="6"/>
                    <a:pt x="52" y="143"/>
                    <a:pt x="52" y="311"/>
                  </a:cubicBezTo>
                  <a:cubicBezTo>
                    <a:pt x="52" y="465"/>
                    <a:pt x="52" y="465"/>
                    <a:pt x="52" y="465"/>
                  </a:cubicBezTo>
                  <a:cubicBezTo>
                    <a:pt x="48" y="464"/>
                    <a:pt x="48" y="464"/>
                    <a:pt x="48" y="464"/>
                  </a:cubicBezTo>
                  <a:cubicBezTo>
                    <a:pt x="48" y="464"/>
                    <a:pt x="31" y="460"/>
                    <a:pt x="20" y="471"/>
                  </a:cubicBezTo>
                  <a:cubicBezTo>
                    <a:pt x="9" y="481"/>
                    <a:pt x="6" y="504"/>
                    <a:pt x="13" y="537"/>
                  </a:cubicBezTo>
                  <a:cubicBezTo>
                    <a:pt x="32" y="633"/>
                    <a:pt x="59" y="681"/>
                    <a:pt x="100" y="689"/>
                  </a:cubicBezTo>
                  <a:cubicBezTo>
                    <a:pt x="101" y="690"/>
                    <a:pt x="101" y="690"/>
                    <a:pt x="101" y="690"/>
                  </a:cubicBezTo>
                  <a:cubicBezTo>
                    <a:pt x="102" y="691"/>
                    <a:pt x="102" y="691"/>
                    <a:pt x="102" y="691"/>
                  </a:cubicBezTo>
                  <a:cubicBezTo>
                    <a:pt x="103" y="694"/>
                    <a:pt x="202" y="928"/>
                    <a:pt x="366" y="928"/>
                  </a:cubicBezTo>
                  <a:cubicBezTo>
                    <a:pt x="394" y="928"/>
                    <a:pt x="394" y="928"/>
                    <a:pt x="394" y="928"/>
                  </a:cubicBezTo>
                  <a:cubicBezTo>
                    <a:pt x="511" y="928"/>
                    <a:pt x="584" y="826"/>
                    <a:pt x="617" y="764"/>
                  </a:cubicBezTo>
                  <a:cubicBezTo>
                    <a:pt x="622" y="767"/>
                    <a:pt x="622" y="767"/>
                    <a:pt x="622" y="767"/>
                  </a:cubicBezTo>
                  <a:cubicBezTo>
                    <a:pt x="588" y="829"/>
                    <a:pt x="514" y="934"/>
                    <a:pt x="394" y="934"/>
                  </a:cubicBez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3" name="Freeform 9">
              <a:extLst>
                <a:ext uri="{FF2B5EF4-FFF2-40B4-BE49-F238E27FC236}">
                  <a16:creationId xmlns:a16="http://schemas.microsoft.com/office/drawing/2014/main" id="{67DF83BA-3679-DD52-BA7F-C65B276980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" y="2418"/>
              <a:ext cx="1089" cy="1492"/>
            </a:xfrm>
            <a:custGeom>
              <a:avLst/>
              <a:gdLst>
                <a:gd name="T0" fmla="*/ 479 w 479"/>
                <a:gd name="T1" fmla="*/ 656 h 656"/>
                <a:gd name="T2" fmla="*/ 0 w 479"/>
                <a:gd name="T3" fmla="*/ 656 h 656"/>
                <a:gd name="T4" fmla="*/ 15 w 479"/>
                <a:gd name="T5" fmla="*/ 269 h 656"/>
                <a:gd name="T6" fmla="*/ 111 w 479"/>
                <a:gd name="T7" fmla="*/ 134 h 656"/>
                <a:gd name="T8" fmla="*/ 432 w 479"/>
                <a:gd name="T9" fmla="*/ 0 h 656"/>
                <a:gd name="T10" fmla="*/ 434 w 479"/>
                <a:gd name="T11" fmla="*/ 5 h 656"/>
                <a:gd name="T12" fmla="*/ 113 w 479"/>
                <a:gd name="T13" fmla="*/ 140 h 656"/>
                <a:gd name="T14" fmla="*/ 21 w 479"/>
                <a:gd name="T15" fmla="*/ 269 h 656"/>
                <a:gd name="T16" fmla="*/ 6 w 479"/>
                <a:gd name="T17" fmla="*/ 650 h 656"/>
                <a:gd name="T18" fmla="*/ 479 w 479"/>
                <a:gd name="T19" fmla="*/ 650 h 656"/>
                <a:gd name="T20" fmla="*/ 479 w 479"/>
                <a:gd name="T21" fmla="*/ 65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9" h="656">
                  <a:moveTo>
                    <a:pt x="479" y="656"/>
                  </a:moveTo>
                  <a:cubicBezTo>
                    <a:pt x="0" y="656"/>
                    <a:pt x="0" y="656"/>
                    <a:pt x="0" y="656"/>
                  </a:cubicBezTo>
                  <a:cubicBezTo>
                    <a:pt x="15" y="269"/>
                    <a:pt x="15" y="269"/>
                    <a:pt x="15" y="269"/>
                  </a:cubicBezTo>
                  <a:cubicBezTo>
                    <a:pt x="15" y="269"/>
                    <a:pt x="9" y="178"/>
                    <a:pt x="111" y="134"/>
                  </a:cubicBezTo>
                  <a:cubicBezTo>
                    <a:pt x="212" y="91"/>
                    <a:pt x="430" y="1"/>
                    <a:pt x="432" y="0"/>
                  </a:cubicBezTo>
                  <a:cubicBezTo>
                    <a:pt x="434" y="5"/>
                    <a:pt x="434" y="5"/>
                    <a:pt x="434" y="5"/>
                  </a:cubicBezTo>
                  <a:cubicBezTo>
                    <a:pt x="432" y="6"/>
                    <a:pt x="214" y="96"/>
                    <a:pt x="113" y="140"/>
                  </a:cubicBezTo>
                  <a:cubicBezTo>
                    <a:pt x="15" y="182"/>
                    <a:pt x="21" y="268"/>
                    <a:pt x="21" y="269"/>
                  </a:cubicBezTo>
                  <a:cubicBezTo>
                    <a:pt x="6" y="650"/>
                    <a:pt x="6" y="650"/>
                    <a:pt x="6" y="650"/>
                  </a:cubicBezTo>
                  <a:cubicBezTo>
                    <a:pt x="479" y="650"/>
                    <a:pt x="479" y="650"/>
                    <a:pt x="479" y="650"/>
                  </a:cubicBezTo>
                  <a:lnTo>
                    <a:pt x="479" y="656"/>
                  </a:ln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4" name="Freeform 10">
              <a:extLst>
                <a:ext uri="{FF2B5EF4-FFF2-40B4-BE49-F238E27FC236}">
                  <a16:creationId xmlns:a16="http://schemas.microsoft.com/office/drawing/2014/main" id="{ACDD544C-6A05-ACC9-0ED3-9DA956D15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7" y="2395"/>
              <a:ext cx="191" cy="167"/>
            </a:xfrm>
            <a:custGeom>
              <a:avLst/>
              <a:gdLst>
                <a:gd name="T0" fmla="*/ 184 w 191"/>
                <a:gd name="T1" fmla="*/ 167 h 167"/>
                <a:gd name="T2" fmla="*/ 0 w 191"/>
                <a:gd name="T3" fmla="*/ 10 h 167"/>
                <a:gd name="T4" fmla="*/ 9 w 191"/>
                <a:gd name="T5" fmla="*/ 0 h 167"/>
                <a:gd name="T6" fmla="*/ 191 w 191"/>
                <a:gd name="T7" fmla="*/ 157 h 167"/>
                <a:gd name="T8" fmla="*/ 184 w 191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67">
                  <a:moveTo>
                    <a:pt x="184" y="167"/>
                  </a:moveTo>
                  <a:lnTo>
                    <a:pt x="0" y="10"/>
                  </a:lnTo>
                  <a:lnTo>
                    <a:pt x="9" y="0"/>
                  </a:lnTo>
                  <a:lnTo>
                    <a:pt x="191" y="157"/>
                  </a:lnTo>
                  <a:lnTo>
                    <a:pt x="184" y="167"/>
                  </a:ln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5" name="Freeform 11">
              <a:extLst>
                <a:ext uri="{FF2B5EF4-FFF2-40B4-BE49-F238E27FC236}">
                  <a16:creationId xmlns:a16="http://schemas.microsoft.com/office/drawing/2014/main" id="{7E5349E9-93F5-6DD1-1578-CBB23899B7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36" y="2"/>
              <a:ext cx="2072" cy="2514"/>
            </a:xfrm>
            <a:custGeom>
              <a:avLst/>
              <a:gdLst>
                <a:gd name="T0" fmla="*/ 478 w 911"/>
                <a:gd name="T1" fmla="*/ 1105 h 1105"/>
                <a:gd name="T2" fmla="*/ 445 w 911"/>
                <a:gd name="T3" fmla="*/ 1105 h 1105"/>
                <a:gd name="T4" fmla="*/ 144 w 911"/>
                <a:gd name="T5" fmla="*/ 838 h 1105"/>
                <a:gd name="T6" fmla="*/ 21 w 911"/>
                <a:gd name="T7" fmla="*/ 692 h 1105"/>
                <a:gd name="T8" fmla="*/ 20 w 911"/>
                <a:gd name="T9" fmla="*/ 561 h 1105"/>
                <a:gd name="T10" fmla="*/ 67 w 911"/>
                <a:gd name="T11" fmla="*/ 546 h 1105"/>
                <a:gd name="T12" fmla="*/ 67 w 911"/>
                <a:gd name="T13" fmla="*/ 369 h 1105"/>
                <a:gd name="T14" fmla="*/ 435 w 911"/>
                <a:gd name="T15" fmla="*/ 0 h 1105"/>
                <a:gd name="T16" fmla="*/ 488 w 911"/>
                <a:gd name="T17" fmla="*/ 0 h 1105"/>
                <a:gd name="T18" fmla="*/ 856 w 911"/>
                <a:gd name="T19" fmla="*/ 369 h 1105"/>
                <a:gd name="T20" fmla="*/ 856 w 911"/>
                <a:gd name="T21" fmla="*/ 542 h 1105"/>
                <a:gd name="T22" fmla="*/ 892 w 911"/>
                <a:gd name="T23" fmla="*/ 552 h 1105"/>
                <a:gd name="T24" fmla="*/ 902 w 911"/>
                <a:gd name="T25" fmla="*/ 637 h 1105"/>
                <a:gd name="T26" fmla="*/ 796 w 911"/>
                <a:gd name="T27" fmla="*/ 822 h 1105"/>
                <a:gd name="T28" fmla="*/ 478 w 911"/>
                <a:gd name="T29" fmla="*/ 1105 h 1105"/>
                <a:gd name="T30" fmla="*/ 59 w 911"/>
                <a:gd name="T31" fmla="*/ 551 h 1105"/>
                <a:gd name="T32" fmla="*/ 25 w 911"/>
                <a:gd name="T33" fmla="*/ 565 h 1105"/>
                <a:gd name="T34" fmla="*/ 26 w 911"/>
                <a:gd name="T35" fmla="*/ 690 h 1105"/>
                <a:gd name="T36" fmla="*/ 147 w 911"/>
                <a:gd name="T37" fmla="*/ 833 h 1105"/>
                <a:gd name="T38" fmla="*/ 149 w 911"/>
                <a:gd name="T39" fmla="*/ 833 h 1105"/>
                <a:gd name="T40" fmla="*/ 149 w 911"/>
                <a:gd name="T41" fmla="*/ 835 h 1105"/>
                <a:gd name="T42" fmla="*/ 445 w 911"/>
                <a:gd name="T43" fmla="*/ 1099 h 1105"/>
                <a:gd name="T44" fmla="*/ 478 w 911"/>
                <a:gd name="T45" fmla="*/ 1099 h 1105"/>
                <a:gd name="T46" fmla="*/ 791 w 911"/>
                <a:gd name="T47" fmla="*/ 818 h 1105"/>
                <a:gd name="T48" fmla="*/ 792 w 911"/>
                <a:gd name="T49" fmla="*/ 817 h 1105"/>
                <a:gd name="T50" fmla="*/ 793 w 911"/>
                <a:gd name="T51" fmla="*/ 816 h 1105"/>
                <a:gd name="T52" fmla="*/ 896 w 911"/>
                <a:gd name="T53" fmla="*/ 636 h 1105"/>
                <a:gd name="T54" fmla="*/ 888 w 911"/>
                <a:gd name="T55" fmla="*/ 556 h 1105"/>
                <a:gd name="T56" fmla="*/ 854 w 911"/>
                <a:gd name="T57" fmla="*/ 549 h 1105"/>
                <a:gd name="T58" fmla="*/ 850 w 911"/>
                <a:gd name="T59" fmla="*/ 550 h 1105"/>
                <a:gd name="T60" fmla="*/ 850 w 911"/>
                <a:gd name="T61" fmla="*/ 369 h 1105"/>
                <a:gd name="T62" fmla="*/ 488 w 911"/>
                <a:gd name="T63" fmla="*/ 6 h 1105"/>
                <a:gd name="T64" fmla="*/ 435 w 911"/>
                <a:gd name="T65" fmla="*/ 6 h 1105"/>
                <a:gd name="T66" fmla="*/ 73 w 911"/>
                <a:gd name="T67" fmla="*/ 369 h 1105"/>
                <a:gd name="T68" fmla="*/ 73 w 911"/>
                <a:gd name="T69" fmla="*/ 553 h 1105"/>
                <a:gd name="T70" fmla="*/ 69 w 911"/>
                <a:gd name="T71" fmla="*/ 552 h 1105"/>
                <a:gd name="T72" fmla="*/ 59 w 911"/>
                <a:gd name="T73" fmla="*/ 551 h 1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11" h="1105">
                  <a:moveTo>
                    <a:pt x="478" y="1105"/>
                  </a:moveTo>
                  <a:cubicBezTo>
                    <a:pt x="445" y="1105"/>
                    <a:pt x="445" y="1105"/>
                    <a:pt x="445" y="1105"/>
                  </a:cubicBezTo>
                  <a:cubicBezTo>
                    <a:pt x="246" y="1105"/>
                    <a:pt x="152" y="860"/>
                    <a:pt x="144" y="838"/>
                  </a:cubicBezTo>
                  <a:cubicBezTo>
                    <a:pt x="73" y="819"/>
                    <a:pt x="34" y="730"/>
                    <a:pt x="21" y="692"/>
                  </a:cubicBezTo>
                  <a:cubicBezTo>
                    <a:pt x="0" y="628"/>
                    <a:pt x="0" y="584"/>
                    <a:pt x="20" y="561"/>
                  </a:cubicBezTo>
                  <a:cubicBezTo>
                    <a:pt x="36" y="544"/>
                    <a:pt x="58" y="544"/>
                    <a:pt x="67" y="546"/>
                  </a:cubicBezTo>
                  <a:cubicBezTo>
                    <a:pt x="67" y="369"/>
                    <a:pt x="67" y="369"/>
                    <a:pt x="67" y="369"/>
                  </a:cubicBezTo>
                  <a:cubicBezTo>
                    <a:pt x="67" y="166"/>
                    <a:pt x="232" y="0"/>
                    <a:pt x="435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691" y="0"/>
                    <a:pt x="856" y="166"/>
                    <a:pt x="856" y="369"/>
                  </a:cubicBezTo>
                  <a:cubicBezTo>
                    <a:pt x="856" y="542"/>
                    <a:pt x="856" y="542"/>
                    <a:pt x="856" y="542"/>
                  </a:cubicBezTo>
                  <a:cubicBezTo>
                    <a:pt x="863" y="541"/>
                    <a:pt x="879" y="540"/>
                    <a:pt x="892" y="552"/>
                  </a:cubicBezTo>
                  <a:cubicBezTo>
                    <a:pt x="907" y="567"/>
                    <a:pt x="911" y="595"/>
                    <a:pt x="902" y="637"/>
                  </a:cubicBezTo>
                  <a:cubicBezTo>
                    <a:pt x="888" y="710"/>
                    <a:pt x="862" y="807"/>
                    <a:pt x="796" y="822"/>
                  </a:cubicBezTo>
                  <a:cubicBezTo>
                    <a:pt x="786" y="844"/>
                    <a:pt x="669" y="1105"/>
                    <a:pt x="478" y="1105"/>
                  </a:cubicBezTo>
                  <a:close/>
                  <a:moveTo>
                    <a:pt x="59" y="551"/>
                  </a:moveTo>
                  <a:cubicBezTo>
                    <a:pt x="50" y="551"/>
                    <a:pt x="35" y="553"/>
                    <a:pt x="25" y="565"/>
                  </a:cubicBezTo>
                  <a:cubicBezTo>
                    <a:pt x="6" y="586"/>
                    <a:pt x="7" y="629"/>
                    <a:pt x="26" y="690"/>
                  </a:cubicBezTo>
                  <a:cubicBezTo>
                    <a:pt x="40" y="727"/>
                    <a:pt x="78" y="815"/>
                    <a:pt x="147" y="833"/>
                  </a:cubicBezTo>
                  <a:cubicBezTo>
                    <a:pt x="149" y="833"/>
                    <a:pt x="149" y="833"/>
                    <a:pt x="149" y="833"/>
                  </a:cubicBezTo>
                  <a:cubicBezTo>
                    <a:pt x="149" y="835"/>
                    <a:pt x="149" y="835"/>
                    <a:pt x="149" y="835"/>
                  </a:cubicBezTo>
                  <a:cubicBezTo>
                    <a:pt x="150" y="837"/>
                    <a:pt x="242" y="1099"/>
                    <a:pt x="445" y="1099"/>
                  </a:cubicBezTo>
                  <a:cubicBezTo>
                    <a:pt x="478" y="1099"/>
                    <a:pt x="478" y="1099"/>
                    <a:pt x="478" y="1099"/>
                  </a:cubicBezTo>
                  <a:cubicBezTo>
                    <a:pt x="673" y="1099"/>
                    <a:pt x="790" y="821"/>
                    <a:pt x="791" y="818"/>
                  </a:cubicBezTo>
                  <a:cubicBezTo>
                    <a:pt x="792" y="817"/>
                    <a:pt x="792" y="817"/>
                    <a:pt x="792" y="817"/>
                  </a:cubicBezTo>
                  <a:cubicBezTo>
                    <a:pt x="793" y="816"/>
                    <a:pt x="793" y="816"/>
                    <a:pt x="793" y="816"/>
                  </a:cubicBezTo>
                  <a:cubicBezTo>
                    <a:pt x="842" y="807"/>
                    <a:pt x="874" y="749"/>
                    <a:pt x="896" y="636"/>
                  </a:cubicBezTo>
                  <a:cubicBezTo>
                    <a:pt x="904" y="597"/>
                    <a:pt x="901" y="569"/>
                    <a:pt x="888" y="556"/>
                  </a:cubicBezTo>
                  <a:cubicBezTo>
                    <a:pt x="874" y="544"/>
                    <a:pt x="854" y="549"/>
                    <a:pt x="854" y="549"/>
                  </a:cubicBezTo>
                  <a:cubicBezTo>
                    <a:pt x="850" y="550"/>
                    <a:pt x="850" y="550"/>
                    <a:pt x="850" y="550"/>
                  </a:cubicBezTo>
                  <a:cubicBezTo>
                    <a:pt x="850" y="369"/>
                    <a:pt x="850" y="369"/>
                    <a:pt x="850" y="369"/>
                  </a:cubicBezTo>
                  <a:cubicBezTo>
                    <a:pt x="850" y="169"/>
                    <a:pt x="687" y="6"/>
                    <a:pt x="488" y="6"/>
                  </a:cubicBezTo>
                  <a:cubicBezTo>
                    <a:pt x="435" y="6"/>
                    <a:pt x="435" y="6"/>
                    <a:pt x="435" y="6"/>
                  </a:cubicBezTo>
                  <a:cubicBezTo>
                    <a:pt x="235" y="6"/>
                    <a:pt x="73" y="169"/>
                    <a:pt x="73" y="369"/>
                  </a:cubicBezTo>
                  <a:cubicBezTo>
                    <a:pt x="73" y="553"/>
                    <a:pt x="73" y="553"/>
                    <a:pt x="73" y="553"/>
                  </a:cubicBezTo>
                  <a:cubicBezTo>
                    <a:pt x="69" y="552"/>
                    <a:pt x="69" y="552"/>
                    <a:pt x="69" y="552"/>
                  </a:cubicBezTo>
                  <a:cubicBezTo>
                    <a:pt x="69" y="552"/>
                    <a:pt x="65" y="551"/>
                    <a:pt x="59" y="551"/>
                  </a:cubicBez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12">
              <a:extLst>
                <a:ext uri="{FF2B5EF4-FFF2-40B4-BE49-F238E27FC236}">
                  <a16:creationId xmlns:a16="http://schemas.microsoft.com/office/drawing/2014/main" id="{DE97E96E-ABC7-4499-B963-BEA8286A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0" y="2480"/>
              <a:ext cx="3382" cy="1838"/>
            </a:xfrm>
            <a:custGeom>
              <a:avLst/>
              <a:gdLst>
                <a:gd name="T0" fmla="*/ 1487 w 1487"/>
                <a:gd name="T1" fmla="*/ 808 h 808"/>
                <a:gd name="T2" fmla="*/ 0 w 1487"/>
                <a:gd name="T3" fmla="*/ 808 h 808"/>
                <a:gd name="T4" fmla="*/ 0 w 1487"/>
                <a:gd name="T5" fmla="*/ 805 h 808"/>
                <a:gd name="T6" fmla="*/ 18 w 1487"/>
                <a:gd name="T7" fmla="*/ 339 h 808"/>
                <a:gd name="T8" fmla="*/ 101 w 1487"/>
                <a:gd name="T9" fmla="*/ 199 h 808"/>
                <a:gd name="T10" fmla="*/ 565 w 1487"/>
                <a:gd name="T11" fmla="*/ 0 h 808"/>
                <a:gd name="T12" fmla="*/ 568 w 1487"/>
                <a:gd name="T13" fmla="*/ 5 h 808"/>
                <a:gd name="T14" fmla="*/ 103 w 1487"/>
                <a:gd name="T15" fmla="*/ 204 h 808"/>
                <a:gd name="T16" fmla="*/ 23 w 1487"/>
                <a:gd name="T17" fmla="*/ 339 h 808"/>
                <a:gd name="T18" fmla="*/ 6 w 1487"/>
                <a:gd name="T19" fmla="*/ 802 h 808"/>
                <a:gd name="T20" fmla="*/ 1481 w 1487"/>
                <a:gd name="T21" fmla="*/ 802 h 808"/>
                <a:gd name="T22" fmla="*/ 1464 w 1487"/>
                <a:gd name="T23" fmla="*/ 352 h 808"/>
                <a:gd name="T24" fmla="*/ 1354 w 1487"/>
                <a:gd name="T25" fmla="*/ 198 h 808"/>
                <a:gd name="T26" fmla="*/ 908 w 1487"/>
                <a:gd name="T27" fmla="*/ 12 h 808"/>
                <a:gd name="T28" fmla="*/ 911 w 1487"/>
                <a:gd name="T29" fmla="*/ 6 h 808"/>
                <a:gd name="T30" fmla="*/ 1356 w 1487"/>
                <a:gd name="T31" fmla="*/ 192 h 808"/>
                <a:gd name="T32" fmla="*/ 1469 w 1487"/>
                <a:gd name="T33" fmla="*/ 352 h 808"/>
                <a:gd name="T34" fmla="*/ 1487 w 1487"/>
                <a:gd name="T35" fmla="*/ 808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87" h="808">
                  <a:moveTo>
                    <a:pt x="1487" y="808"/>
                  </a:moveTo>
                  <a:cubicBezTo>
                    <a:pt x="0" y="808"/>
                    <a:pt x="0" y="808"/>
                    <a:pt x="0" y="808"/>
                  </a:cubicBezTo>
                  <a:cubicBezTo>
                    <a:pt x="0" y="805"/>
                    <a:pt x="0" y="805"/>
                    <a:pt x="0" y="805"/>
                  </a:cubicBezTo>
                  <a:cubicBezTo>
                    <a:pt x="0" y="801"/>
                    <a:pt x="9" y="438"/>
                    <a:pt x="18" y="339"/>
                  </a:cubicBezTo>
                  <a:cubicBezTo>
                    <a:pt x="26" y="237"/>
                    <a:pt x="100" y="199"/>
                    <a:pt x="101" y="199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68" y="5"/>
                    <a:pt x="568" y="5"/>
                    <a:pt x="568" y="5"/>
                  </a:cubicBezTo>
                  <a:cubicBezTo>
                    <a:pt x="103" y="204"/>
                    <a:pt x="103" y="204"/>
                    <a:pt x="103" y="204"/>
                  </a:cubicBezTo>
                  <a:cubicBezTo>
                    <a:pt x="103" y="204"/>
                    <a:pt x="32" y="241"/>
                    <a:pt x="23" y="339"/>
                  </a:cubicBezTo>
                  <a:cubicBezTo>
                    <a:pt x="15" y="434"/>
                    <a:pt x="7" y="767"/>
                    <a:pt x="6" y="802"/>
                  </a:cubicBezTo>
                  <a:cubicBezTo>
                    <a:pt x="1481" y="802"/>
                    <a:pt x="1481" y="802"/>
                    <a:pt x="1481" y="802"/>
                  </a:cubicBezTo>
                  <a:cubicBezTo>
                    <a:pt x="1464" y="352"/>
                    <a:pt x="1464" y="352"/>
                    <a:pt x="1464" y="352"/>
                  </a:cubicBezTo>
                  <a:cubicBezTo>
                    <a:pt x="1464" y="350"/>
                    <a:pt x="1471" y="248"/>
                    <a:pt x="1354" y="198"/>
                  </a:cubicBezTo>
                  <a:cubicBezTo>
                    <a:pt x="1235" y="147"/>
                    <a:pt x="912" y="13"/>
                    <a:pt x="908" y="12"/>
                  </a:cubicBezTo>
                  <a:cubicBezTo>
                    <a:pt x="911" y="6"/>
                    <a:pt x="911" y="6"/>
                    <a:pt x="911" y="6"/>
                  </a:cubicBezTo>
                  <a:cubicBezTo>
                    <a:pt x="914" y="8"/>
                    <a:pt x="1237" y="141"/>
                    <a:pt x="1356" y="192"/>
                  </a:cubicBezTo>
                  <a:cubicBezTo>
                    <a:pt x="1477" y="244"/>
                    <a:pt x="1470" y="351"/>
                    <a:pt x="1469" y="352"/>
                  </a:cubicBezTo>
                  <a:lnTo>
                    <a:pt x="1487" y="808"/>
                  </a:ln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9D8D4746-A7A5-1A72-7B62-7BA7132039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0" y="2730"/>
              <a:ext cx="441" cy="405"/>
            </a:xfrm>
            <a:custGeom>
              <a:avLst/>
              <a:gdLst>
                <a:gd name="T0" fmla="*/ 221 w 441"/>
                <a:gd name="T1" fmla="*/ 405 h 405"/>
                <a:gd name="T2" fmla="*/ 0 w 441"/>
                <a:gd name="T3" fmla="*/ 250 h 405"/>
                <a:gd name="T4" fmla="*/ 34 w 441"/>
                <a:gd name="T5" fmla="*/ 0 h 405"/>
                <a:gd name="T6" fmla="*/ 407 w 441"/>
                <a:gd name="T7" fmla="*/ 0 h 405"/>
                <a:gd name="T8" fmla="*/ 441 w 441"/>
                <a:gd name="T9" fmla="*/ 250 h 405"/>
                <a:gd name="T10" fmla="*/ 221 w 441"/>
                <a:gd name="T11" fmla="*/ 405 h 405"/>
                <a:gd name="T12" fmla="*/ 14 w 441"/>
                <a:gd name="T13" fmla="*/ 246 h 405"/>
                <a:gd name="T14" fmla="*/ 221 w 441"/>
                <a:gd name="T15" fmla="*/ 389 h 405"/>
                <a:gd name="T16" fmla="*/ 428 w 441"/>
                <a:gd name="T17" fmla="*/ 246 h 405"/>
                <a:gd name="T18" fmla="*/ 396 w 441"/>
                <a:gd name="T19" fmla="*/ 14 h 405"/>
                <a:gd name="T20" fmla="*/ 46 w 441"/>
                <a:gd name="T21" fmla="*/ 14 h 405"/>
                <a:gd name="T22" fmla="*/ 14 w 441"/>
                <a:gd name="T23" fmla="*/ 246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1" h="405">
                  <a:moveTo>
                    <a:pt x="221" y="405"/>
                  </a:moveTo>
                  <a:lnTo>
                    <a:pt x="0" y="250"/>
                  </a:lnTo>
                  <a:lnTo>
                    <a:pt x="34" y="0"/>
                  </a:lnTo>
                  <a:lnTo>
                    <a:pt x="407" y="0"/>
                  </a:lnTo>
                  <a:lnTo>
                    <a:pt x="441" y="250"/>
                  </a:lnTo>
                  <a:lnTo>
                    <a:pt x="221" y="405"/>
                  </a:lnTo>
                  <a:close/>
                  <a:moveTo>
                    <a:pt x="14" y="246"/>
                  </a:moveTo>
                  <a:lnTo>
                    <a:pt x="221" y="389"/>
                  </a:lnTo>
                  <a:lnTo>
                    <a:pt x="428" y="246"/>
                  </a:lnTo>
                  <a:lnTo>
                    <a:pt x="396" y="14"/>
                  </a:lnTo>
                  <a:lnTo>
                    <a:pt x="46" y="14"/>
                  </a:lnTo>
                  <a:lnTo>
                    <a:pt x="14" y="246"/>
                  </a:ln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B8187F52-9EBA-C94C-21B8-87AEDC219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3" y="3030"/>
              <a:ext cx="88" cy="1281"/>
            </a:xfrm>
            <a:custGeom>
              <a:avLst/>
              <a:gdLst>
                <a:gd name="T0" fmla="*/ 75 w 88"/>
                <a:gd name="T1" fmla="*/ 1281 h 1281"/>
                <a:gd name="T2" fmla="*/ 0 w 88"/>
                <a:gd name="T3" fmla="*/ 0 h 1281"/>
                <a:gd name="T4" fmla="*/ 11 w 88"/>
                <a:gd name="T5" fmla="*/ 0 h 1281"/>
                <a:gd name="T6" fmla="*/ 88 w 88"/>
                <a:gd name="T7" fmla="*/ 1281 h 1281"/>
                <a:gd name="T8" fmla="*/ 75 w 88"/>
                <a:gd name="T9" fmla="*/ 1281 h 1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281">
                  <a:moveTo>
                    <a:pt x="75" y="1281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88" y="1281"/>
                  </a:lnTo>
                  <a:lnTo>
                    <a:pt x="75" y="1281"/>
                  </a:ln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564FBE67-703B-FF28-6EFA-12790AFA5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8" y="3030"/>
              <a:ext cx="91" cy="1281"/>
            </a:xfrm>
            <a:custGeom>
              <a:avLst/>
              <a:gdLst>
                <a:gd name="T0" fmla="*/ 13 w 91"/>
                <a:gd name="T1" fmla="*/ 1281 h 1281"/>
                <a:gd name="T2" fmla="*/ 0 w 91"/>
                <a:gd name="T3" fmla="*/ 1281 h 1281"/>
                <a:gd name="T4" fmla="*/ 77 w 91"/>
                <a:gd name="T5" fmla="*/ 0 h 1281"/>
                <a:gd name="T6" fmla="*/ 91 w 91"/>
                <a:gd name="T7" fmla="*/ 0 h 1281"/>
                <a:gd name="T8" fmla="*/ 13 w 91"/>
                <a:gd name="T9" fmla="*/ 1281 h 1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281">
                  <a:moveTo>
                    <a:pt x="13" y="1281"/>
                  </a:moveTo>
                  <a:lnTo>
                    <a:pt x="0" y="1281"/>
                  </a:lnTo>
                  <a:lnTo>
                    <a:pt x="77" y="0"/>
                  </a:lnTo>
                  <a:lnTo>
                    <a:pt x="91" y="0"/>
                  </a:lnTo>
                  <a:lnTo>
                    <a:pt x="13" y="1281"/>
                  </a:lnTo>
                  <a:close/>
                </a:path>
              </a:pathLst>
            </a:custGeom>
            <a:solidFill>
              <a:srgbClr val="231F20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cxnSp>
        <p:nvCxnSpPr>
          <p:cNvPr id="191" name="Straight Arrow Connector 190">
            <a:extLst>
              <a:ext uri="{FF2B5EF4-FFF2-40B4-BE49-F238E27FC236}">
                <a16:creationId xmlns:a16="http://schemas.microsoft.com/office/drawing/2014/main" id="{E3654DCE-DC01-448F-986F-3BB0CB0797CF}"/>
              </a:ext>
            </a:extLst>
          </p:cNvPr>
          <p:cNvCxnSpPr>
            <a:cxnSpLocks/>
          </p:cNvCxnSpPr>
          <p:nvPr/>
        </p:nvCxnSpPr>
        <p:spPr>
          <a:xfrm>
            <a:off x="1611042" y="4111812"/>
            <a:ext cx="652970" cy="0"/>
          </a:xfrm>
          <a:prstGeom prst="straightConnector1">
            <a:avLst/>
          </a:prstGeom>
          <a:ln w="12700"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Rectangle 194">
            <a:extLst>
              <a:ext uri="{FF2B5EF4-FFF2-40B4-BE49-F238E27FC236}">
                <a16:creationId xmlns:a16="http://schemas.microsoft.com/office/drawing/2014/main" id="{6D49A8DD-BE21-D2EC-BE25-9257A77E3C2E}"/>
              </a:ext>
            </a:extLst>
          </p:cNvPr>
          <p:cNvSpPr/>
          <p:nvPr/>
        </p:nvSpPr>
        <p:spPr>
          <a:xfrm>
            <a:off x="3873327" y="2567800"/>
            <a:ext cx="6889743" cy="33259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 dirty="0" err="1"/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447A549D-7ADE-A134-1FC3-667167D66E14}"/>
              </a:ext>
            </a:extLst>
          </p:cNvPr>
          <p:cNvSpPr/>
          <p:nvPr/>
        </p:nvSpPr>
        <p:spPr>
          <a:xfrm>
            <a:off x="6951979" y="3076887"/>
            <a:ext cx="425671" cy="2100787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576" tIns="36576" rIns="36576" bIns="36576" rtlCol="0" anchor="ctr" anchorCtr="0"/>
          <a:lstStyle/>
          <a:p>
            <a:pPr algn="ctr">
              <a:buClr>
                <a:schemeClr val="accent1"/>
              </a:buClr>
              <a:buSzPct val="120000"/>
            </a:pPr>
            <a:r>
              <a:rPr lang="en-US" sz="1100" dirty="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ontrollers</a:t>
            </a:r>
            <a:endParaRPr lang="en-GB" sz="11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02" name="Group 301">
            <a:extLst>
              <a:ext uri="{FF2B5EF4-FFF2-40B4-BE49-F238E27FC236}">
                <a16:creationId xmlns:a16="http://schemas.microsoft.com/office/drawing/2014/main" id="{86CCE5E4-1756-9BF3-4D1B-5BDAF46C7404}"/>
              </a:ext>
            </a:extLst>
          </p:cNvPr>
          <p:cNvGrpSpPr/>
          <p:nvPr/>
        </p:nvGrpSpPr>
        <p:grpSpPr>
          <a:xfrm>
            <a:off x="5518082" y="3056836"/>
            <a:ext cx="425671" cy="2100787"/>
            <a:chOff x="5506171" y="2768600"/>
            <a:chExt cx="425671" cy="2100787"/>
          </a:xfrm>
        </p:grpSpPr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CF6C0C91-E580-82BF-A269-F81038CE40E8}"/>
                </a:ext>
              </a:extLst>
            </p:cNvPr>
            <p:cNvSpPr/>
            <p:nvPr/>
          </p:nvSpPr>
          <p:spPr>
            <a:xfrm>
              <a:off x="5506171" y="2768600"/>
              <a:ext cx="425671" cy="2100787"/>
            </a:xfrm>
            <a:prstGeom prst="rect">
              <a:avLst/>
            </a:prstGeom>
            <a:solidFill>
              <a:schemeClr val="tx2">
                <a:lumMod val="90000"/>
                <a:lumOff val="1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576" tIns="36576" rIns="36576" bIns="108000" rtlCol="0" anchor="ctr" anchorCtr="0"/>
            <a:lstStyle/>
            <a:p>
              <a:pPr algn="ctr">
                <a:buClr>
                  <a:schemeClr val="accent1"/>
                </a:buClr>
                <a:buSzPct val="120000"/>
              </a:pPr>
              <a:r>
                <a:rPr lang="en-IN" sz="1100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Routes</a:t>
              </a:r>
              <a:endParaRPr lang="en-GB" sz="1100" dirty="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10" name="Freeform 29">
              <a:extLst>
                <a:ext uri="{FF2B5EF4-FFF2-40B4-BE49-F238E27FC236}">
                  <a16:creationId xmlns:a16="http://schemas.microsoft.com/office/drawing/2014/main" id="{299CFF01-7B52-69E2-E7E2-FF2E32FE9CE2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5581330" y="2844530"/>
              <a:ext cx="275352" cy="273100"/>
            </a:xfrm>
            <a:custGeom>
              <a:avLst/>
              <a:gdLst>
                <a:gd name="T0" fmla="*/ 328 w 384"/>
                <a:gd name="T1" fmla="*/ 0 h 384"/>
                <a:gd name="T2" fmla="*/ 384 w 384"/>
                <a:gd name="T3" fmla="*/ 56 h 384"/>
                <a:gd name="T4" fmla="*/ 380 w 384"/>
                <a:gd name="T5" fmla="*/ 82 h 384"/>
                <a:gd name="T6" fmla="*/ 328 w 384"/>
                <a:gd name="T7" fmla="*/ 192 h 384"/>
                <a:gd name="T8" fmla="*/ 277 w 384"/>
                <a:gd name="T9" fmla="*/ 82 h 384"/>
                <a:gd name="T10" fmla="*/ 272 w 384"/>
                <a:gd name="T11" fmla="*/ 56 h 384"/>
                <a:gd name="T12" fmla="*/ 328 w 384"/>
                <a:gd name="T13" fmla="*/ 0 h 384"/>
                <a:gd name="T14" fmla="*/ 328 w 384"/>
                <a:gd name="T15" fmla="*/ 32 h 384"/>
                <a:gd name="T16" fmla="*/ 304 w 384"/>
                <a:gd name="T17" fmla="*/ 56 h 384"/>
                <a:gd name="T18" fmla="*/ 328 w 384"/>
                <a:gd name="T19" fmla="*/ 80 h 384"/>
                <a:gd name="T20" fmla="*/ 352 w 384"/>
                <a:gd name="T21" fmla="*/ 56 h 384"/>
                <a:gd name="T22" fmla="*/ 328 w 384"/>
                <a:gd name="T23" fmla="*/ 32 h 384"/>
                <a:gd name="T24" fmla="*/ 64 w 384"/>
                <a:gd name="T25" fmla="*/ 168 h 384"/>
                <a:gd name="T26" fmla="*/ 128 w 384"/>
                <a:gd name="T27" fmla="*/ 232 h 384"/>
                <a:gd name="T28" fmla="*/ 123 w 384"/>
                <a:gd name="T29" fmla="*/ 260 h 384"/>
                <a:gd name="T30" fmla="*/ 64 w 384"/>
                <a:gd name="T31" fmla="*/ 384 h 384"/>
                <a:gd name="T32" fmla="*/ 5 w 384"/>
                <a:gd name="T33" fmla="*/ 260 h 384"/>
                <a:gd name="T34" fmla="*/ 0 w 384"/>
                <a:gd name="T35" fmla="*/ 232 h 384"/>
                <a:gd name="T36" fmla="*/ 64 w 384"/>
                <a:gd name="T37" fmla="*/ 168 h 384"/>
                <a:gd name="T38" fmla="*/ 313 w 384"/>
                <a:gd name="T39" fmla="*/ 179 h 384"/>
                <a:gd name="T40" fmla="*/ 320 w 384"/>
                <a:gd name="T41" fmla="*/ 194 h 384"/>
                <a:gd name="T42" fmla="*/ 224 w 384"/>
                <a:gd name="T43" fmla="*/ 232 h 384"/>
                <a:gd name="T44" fmla="*/ 217 w 384"/>
                <a:gd name="T45" fmla="*/ 253 h 384"/>
                <a:gd name="T46" fmla="*/ 221 w 384"/>
                <a:gd name="T47" fmla="*/ 280 h 384"/>
                <a:gd name="T48" fmla="*/ 222 w 384"/>
                <a:gd name="T49" fmla="*/ 310 h 384"/>
                <a:gd name="T50" fmla="*/ 205 w 384"/>
                <a:gd name="T51" fmla="*/ 341 h 384"/>
                <a:gd name="T52" fmla="*/ 73 w 384"/>
                <a:gd name="T53" fmla="*/ 383 h 384"/>
                <a:gd name="T54" fmla="*/ 82 w 384"/>
                <a:gd name="T55" fmla="*/ 365 h 384"/>
                <a:gd name="T56" fmla="*/ 194 w 384"/>
                <a:gd name="T57" fmla="*/ 329 h 384"/>
                <a:gd name="T58" fmla="*/ 206 w 384"/>
                <a:gd name="T59" fmla="*/ 308 h 384"/>
                <a:gd name="T60" fmla="*/ 205 w 384"/>
                <a:gd name="T61" fmla="*/ 283 h 384"/>
                <a:gd name="T62" fmla="*/ 201 w 384"/>
                <a:gd name="T63" fmla="*/ 253 h 384"/>
                <a:gd name="T64" fmla="*/ 211 w 384"/>
                <a:gd name="T65" fmla="*/ 222 h 384"/>
                <a:gd name="T66" fmla="*/ 313 w 384"/>
                <a:gd name="T67" fmla="*/ 179 h 384"/>
                <a:gd name="T68" fmla="*/ 64 w 384"/>
                <a:gd name="T69" fmla="*/ 204 h 384"/>
                <a:gd name="T70" fmla="*/ 36 w 384"/>
                <a:gd name="T71" fmla="*/ 232 h 384"/>
                <a:gd name="T72" fmla="*/ 64 w 384"/>
                <a:gd name="T73" fmla="*/ 260 h 384"/>
                <a:gd name="T74" fmla="*/ 92 w 384"/>
                <a:gd name="T75" fmla="*/ 232 h 384"/>
                <a:gd name="T76" fmla="*/ 64 w 384"/>
                <a:gd name="T77" fmla="*/ 20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4" h="384">
                  <a:moveTo>
                    <a:pt x="328" y="0"/>
                  </a:moveTo>
                  <a:cubicBezTo>
                    <a:pt x="359" y="0"/>
                    <a:pt x="384" y="24"/>
                    <a:pt x="384" y="56"/>
                  </a:cubicBezTo>
                  <a:cubicBezTo>
                    <a:pt x="384" y="63"/>
                    <a:pt x="382" y="75"/>
                    <a:pt x="380" y="82"/>
                  </a:cubicBezTo>
                  <a:cubicBezTo>
                    <a:pt x="328" y="192"/>
                    <a:pt x="328" y="192"/>
                    <a:pt x="328" y="192"/>
                  </a:cubicBezTo>
                  <a:cubicBezTo>
                    <a:pt x="277" y="82"/>
                    <a:pt x="277" y="82"/>
                    <a:pt x="277" y="82"/>
                  </a:cubicBezTo>
                  <a:cubicBezTo>
                    <a:pt x="274" y="75"/>
                    <a:pt x="272" y="63"/>
                    <a:pt x="272" y="56"/>
                  </a:cubicBezTo>
                  <a:cubicBezTo>
                    <a:pt x="272" y="24"/>
                    <a:pt x="297" y="0"/>
                    <a:pt x="328" y="0"/>
                  </a:cubicBezTo>
                  <a:close/>
                  <a:moveTo>
                    <a:pt x="328" y="32"/>
                  </a:moveTo>
                  <a:cubicBezTo>
                    <a:pt x="315" y="32"/>
                    <a:pt x="304" y="43"/>
                    <a:pt x="304" y="56"/>
                  </a:cubicBezTo>
                  <a:cubicBezTo>
                    <a:pt x="304" y="69"/>
                    <a:pt x="315" y="80"/>
                    <a:pt x="328" y="80"/>
                  </a:cubicBezTo>
                  <a:cubicBezTo>
                    <a:pt x="341" y="80"/>
                    <a:pt x="352" y="69"/>
                    <a:pt x="352" y="56"/>
                  </a:cubicBezTo>
                  <a:cubicBezTo>
                    <a:pt x="352" y="43"/>
                    <a:pt x="341" y="32"/>
                    <a:pt x="328" y="32"/>
                  </a:cubicBezTo>
                  <a:close/>
                  <a:moveTo>
                    <a:pt x="64" y="168"/>
                  </a:moveTo>
                  <a:cubicBezTo>
                    <a:pt x="99" y="168"/>
                    <a:pt x="128" y="196"/>
                    <a:pt x="128" y="232"/>
                  </a:cubicBezTo>
                  <a:cubicBezTo>
                    <a:pt x="128" y="240"/>
                    <a:pt x="126" y="253"/>
                    <a:pt x="123" y="260"/>
                  </a:cubicBezTo>
                  <a:cubicBezTo>
                    <a:pt x="64" y="384"/>
                    <a:pt x="64" y="384"/>
                    <a:pt x="64" y="384"/>
                  </a:cubicBezTo>
                  <a:cubicBezTo>
                    <a:pt x="5" y="260"/>
                    <a:pt x="5" y="260"/>
                    <a:pt x="5" y="260"/>
                  </a:cubicBezTo>
                  <a:cubicBezTo>
                    <a:pt x="2" y="253"/>
                    <a:pt x="0" y="240"/>
                    <a:pt x="0" y="232"/>
                  </a:cubicBezTo>
                  <a:cubicBezTo>
                    <a:pt x="0" y="196"/>
                    <a:pt x="29" y="168"/>
                    <a:pt x="64" y="168"/>
                  </a:cubicBezTo>
                  <a:close/>
                  <a:moveTo>
                    <a:pt x="313" y="179"/>
                  </a:moveTo>
                  <a:cubicBezTo>
                    <a:pt x="320" y="194"/>
                    <a:pt x="320" y="194"/>
                    <a:pt x="320" y="194"/>
                  </a:cubicBezTo>
                  <a:cubicBezTo>
                    <a:pt x="260" y="204"/>
                    <a:pt x="234" y="218"/>
                    <a:pt x="224" y="232"/>
                  </a:cubicBezTo>
                  <a:cubicBezTo>
                    <a:pt x="219" y="239"/>
                    <a:pt x="217" y="245"/>
                    <a:pt x="217" y="253"/>
                  </a:cubicBezTo>
                  <a:cubicBezTo>
                    <a:pt x="217" y="261"/>
                    <a:pt x="219" y="270"/>
                    <a:pt x="221" y="280"/>
                  </a:cubicBezTo>
                  <a:cubicBezTo>
                    <a:pt x="222" y="289"/>
                    <a:pt x="224" y="300"/>
                    <a:pt x="222" y="310"/>
                  </a:cubicBezTo>
                  <a:cubicBezTo>
                    <a:pt x="221" y="321"/>
                    <a:pt x="215" y="332"/>
                    <a:pt x="205" y="341"/>
                  </a:cubicBezTo>
                  <a:cubicBezTo>
                    <a:pt x="185" y="359"/>
                    <a:pt x="147" y="373"/>
                    <a:pt x="73" y="383"/>
                  </a:cubicBezTo>
                  <a:cubicBezTo>
                    <a:pt x="82" y="365"/>
                    <a:pt x="82" y="365"/>
                    <a:pt x="82" y="365"/>
                  </a:cubicBezTo>
                  <a:cubicBezTo>
                    <a:pt x="147" y="355"/>
                    <a:pt x="179" y="342"/>
                    <a:pt x="194" y="329"/>
                  </a:cubicBezTo>
                  <a:cubicBezTo>
                    <a:pt x="202" y="322"/>
                    <a:pt x="205" y="315"/>
                    <a:pt x="206" y="308"/>
                  </a:cubicBezTo>
                  <a:cubicBezTo>
                    <a:pt x="208" y="300"/>
                    <a:pt x="207" y="292"/>
                    <a:pt x="205" y="283"/>
                  </a:cubicBezTo>
                  <a:cubicBezTo>
                    <a:pt x="203" y="273"/>
                    <a:pt x="201" y="264"/>
                    <a:pt x="201" y="253"/>
                  </a:cubicBezTo>
                  <a:cubicBezTo>
                    <a:pt x="201" y="243"/>
                    <a:pt x="204" y="232"/>
                    <a:pt x="211" y="222"/>
                  </a:cubicBezTo>
                  <a:cubicBezTo>
                    <a:pt x="226" y="204"/>
                    <a:pt x="255" y="189"/>
                    <a:pt x="313" y="179"/>
                  </a:cubicBezTo>
                  <a:close/>
                  <a:moveTo>
                    <a:pt x="64" y="204"/>
                  </a:moveTo>
                  <a:cubicBezTo>
                    <a:pt x="49" y="204"/>
                    <a:pt x="36" y="217"/>
                    <a:pt x="36" y="232"/>
                  </a:cubicBezTo>
                  <a:cubicBezTo>
                    <a:pt x="36" y="247"/>
                    <a:pt x="49" y="260"/>
                    <a:pt x="64" y="260"/>
                  </a:cubicBezTo>
                  <a:cubicBezTo>
                    <a:pt x="79" y="260"/>
                    <a:pt x="92" y="247"/>
                    <a:pt x="92" y="232"/>
                  </a:cubicBezTo>
                  <a:cubicBezTo>
                    <a:pt x="92" y="217"/>
                    <a:pt x="79" y="204"/>
                    <a:pt x="64" y="20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cxnSp>
        <p:nvCxnSpPr>
          <p:cNvPr id="216" name="Straight Arrow Connector 215">
            <a:extLst>
              <a:ext uri="{FF2B5EF4-FFF2-40B4-BE49-F238E27FC236}">
                <a16:creationId xmlns:a16="http://schemas.microsoft.com/office/drawing/2014/main" id="{447C33B6-E6D2-D2A5-B0C1-3DBEF398585D}"/>
              </a:ext>
            </a:extLst>
          </p:cNvPr>
          <p:cNvCxnSpPr>
            <a:cxnSpLocks/>
            <a:stCxn id="253" idx="3"/>
            <a:endCxn id="209" idx="1"/>
          </p:cNvCxnSpPr>
          <p:nvPr/>
        </p:nvCxnSpPr>
        <p:spPr>
          <a:xfrm flipV="1">
            <a:off x="4609983" y="4107230"/>
            <a:ext cx="908099" cy="240"/>
          </a:xfrm>
          <a:prstGeom prst="straightConnector1">
            <a:avLst/>
          </a:prstGeom>
          <a:ln w="12700"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CDEF5FAD-FA16-8B38-330B-864447BE5866}"/>
              </a:ext>
            </a:extLst>
          </p:cNvPr>
          <p:cNvCxnSpPr>
            <a:cxnSpLocks/>
            <a:stCxn id="209" idx="3"/>
            <a:endCxn id="207" idx="1"/>
          </p:cNvCxnSpPr>
          <p:nvPr/>
        </p:nvCxnSpPr>
        <p:spPr>
          <a:xfrm>
            <a:off x="5943753" y="4107230"/>
            <a:ext cx="1008226" cy="20051"/>
          </a:xfrm>
          <a:prstGeom prst="line">
            <a:avLst/>
          </a:prstGeom>
          <a:ln w="12700">
            <a:solidFill>
              <a:schemeClr val="bg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1" name="Group 300">
            <a:extLst>
              <a:ext uri="{FF2B5EF4-FFF2-40B4-BE49-F238E27FC236}">
                <a16:creationId xmlns:a16="http://schemas.microsoft.com/office/drawing/2014/main" id="{80C16CD7-2146-AA44-35AE-EC60AA7D05F5}"/>
              </a:ext>
            </a:extLst>
          </p:cNvPr>
          <p:cNvGrpSpPr/>
          <p:nvPr/>
        </p:nvGrpSpPr>
        <p:grpSpPr>
          <a:xfrm>
            <a:off x="4184312" y="3057076"/>
            <a:ext cx="425671" cy="2100787"/>
            <a:chOff x="4321002" y="2768600"/>
            <a:chExt cx="425671" cy="2100787"/>
          </a:xfrm>
        </p:grpSpPr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7C312CD8-8754-C99C-0463-56F450F2F73D}"/>
                </a:ext>
              </a:extLst>
            </p:cNvPr>
            <p:cNvSpPr/>
            <p:nvPr/>
          </p:nvSpPr>
          <p:spPr>
            <a:xfrm>
              <a:off x="4321002" y="2768600"/>
              <a:ext cx="425671" cy="2100787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576" tIns="36576" rIns="36576" bIns="108000" rtlCol="0" anchor="ctr" anchorCtr="0"/>
            <a:lstStyle/>
            <a:p>
              <a:pPr algn="ctr">
                <a:buClr>
                  <a:schemeClr val="accent1"/>
                </a:buClr>
                <a:buSzPct val="120000"/>
              </a:pPr>
              <a:r>
                <a:rPr lang="en-IN" sz="1100" dirty="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Authentication </a:t>
              </a:r>
            </a:p>
          </p:txBody>
        </p: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59DF3237-FFDC-8567-A2A6-7097FC771148}"/>
                </a:ext>
              </a:extLst>
            </p:cNvPr>
            <p:cNvGrpSpPr/>
            <p:nvPr/>
          </p:nvGrpSpPr>
          <p:grpSpPr>
            <a:xfrm>
              <a:off x="4378759" y="2846493"/>
              <a:ext cx="310157" cy="244279"/>
              <a:chOff x="457290" y="1638300"/>
              <a:chExt cx="324423" cy="255516"/>
            </a:xfrm>
          </p:grpSpPr>
          <p:sp>
            <p:nvSpPr>
              <p:cNvPr id="255" name="Freeform 29">
                <a:extLst>
                  <a:ext uri="{FF2B5EF4-FFF2-40B4-BE49-F238E27FC236}">
                    <a16:creationId xmlns:a16="http://schemas.microsoft.com/office/drawing/2014/main" id="{AC8EA581-D3F9-4975-4B44-7EA4B53A74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290" y="1759464"/>
                <a:ext cx="240020" cy="101382"/>
              </a:xfrm>
              <a:custGeom>
                <a:avLst/>
                <a:gdLst>
                  <a:gd name="T0" fmla="*/ 0 w 640"/>
                  <a:gd name="T1" fmla="*/ 108 h 271"/>
                  <a:gd name="T2" fmla="*/ 8 w 640"/>
                  <a:gd name="T3" fmla="*/ 90 h 271"/>
                  <a:gd name="T4" fmla="*/ 122 w 640"/>
                  <a:gd name="T5" fmla="*/ 4 h 271"/>
                  <a:gd name="T6" fmla="*/ 250 w 640"/>
                  <a:gd name="T7" fmla="*/ 78 h 271"/>
                  <a:gd name="T8" fmla="*/ 282 w 640"/>
                  <a:gd name="T9" fmla="*/ 97 h 271"/>
                  <a:gd name="T10" fmla="*/ 612 w 640"/>
                  <a:gd name="T11" fmla="*/ 97 h 271"/>
                  <a:gd name="T12" fmla="*/ 640 w 640"/>
                  <a:gd name="T13" fmla="*/ 97 h 271"/>
                  <a:gd name="T14" fmla="*/ 640 w 640"/>
                  <a:gd name="T15" fmla="*/ 210 h 271"/>
                  <a:gd name="T16" fmla="*/ 566 w 640"/>
                  <a:gd name="T17" fmla="*/ 210 h 271"/>
                  <a:gd name="T18" fmla="*/ 564 w 640"/>
                  <a:gd name="T19" fmla="*/ 175 h 271"/>
                  <a:gd name="T20" fmla="*/ 544 w 640"/>
                  <a:gd name="T21" fmla="*/ 174 h 271"/>
                  <a:gd name="T22" fmla="*/ 278 w 640"/>
                  <a:gd name="T23" fmla="*/ 174 h 271"/>
                  <a:gd name="T24" fmla="*/ 253 w 640"/>
                  <a:gd name="T25" fmla="*/ 187 h 271"/>
                  <a:gd name="T26" fmla="*/ 117 w 640"/>
                  <a:gd name="T27" fmla="*/ 266 h 271"/>
                  <a:gd name="T28" fmla="*/ 4 w 640"/>
                  <a:gd name="T29" fmla="*/ 168 h 271"/>
                  <a:gd name="T30" fmla="*/ 0 w 640"/>
                  <a:gd name="T31" fmla="*/ 162 h 271"/>
                  <a:gd name="T32" fmla="*/ 0 w 640"/>
                  <a:gd name="T33" fmla="*/ 108 h 271"/>
                  <a:gd name="T34" fmla="*/ 132 w 640"/>
                  <a:gd name="T35" fmla="*/ 190 h 271"/>
                  <a:gd name="T36" fmla="*/ 187 w 640"/>
                  <a:gd name="T37" fmla="*/ 135 h 271"/>
                  <a:gd name="T38" fmla="*/ 132 w 640"/>
                  <a:gd name="T39" fmla="*/ 80 h 271"/>
                  <a:gd name="T40" fmla="*/ 76 w 640"/>
                  <a:gd name="T41" fmla="*/ 135 h 271"/>
                  <a:gd name="T42" fmla="*/ 132 w 640"/>
                  <a:gd name="T43" fmla="*/ 190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40" h="271">
                    <a:moveTo>
                      <a:pt x="0" y="108"/>
                    </a:moveTo>
                    <a:cubicBezTo>
                      <a:pt x="3" y="102"/>
                      <a:pt x="5" y="96"/>
                      <a:pt x="8" y="90"/>
                    </a:cubicBezTo>
                    <a:cubicBezTo>
                      <a:pt x="29" y="39"/>
                      <a:pt x="66" y="9"/>
                      <a:pt x="122" y="4"/>
                    </a:cubicBezTo>
                    <a:cubicBezTo>
                      <a:pt x="180" y="0"/>
                      <a:pt x="224" y="26"/>
                      <a:pt x="250" y="78"/>
                    </a:cubicBezTo>
                    <a:cubicBezTo>
                      <a:pt x="258" y="93"/>
                      <a:pt x="266" y="98"/>
                      <a:pt x="282" y="97"/>
                    </a:cubicBezTo>
                    <a:cubicBezTo>
                      <a:pt x="392" y="97"/>
                      <a:pt x="502" y="97"/>
                      <a:pt x="612" y="97"/>
                    </a:cubicBezTo>
                    <a:cubicBezTo>
                      <a:pt x="620" y="97"/>
                      <a:pt x="629" y="97"/>
                      <a:pt x="640" y="97"/>
                    </a:cubicBezTo>
                    <a:cubicBezTo>
                      <a:pt x="640" y="136"/>
                      <a:pt x="640" y="173"/>
                      <a:pt x="640" y="210"/>
                    </a:cubicBezTo>
                    <a:cubicBezTo>
                      <a:pt x="615" y="210"/>
                      <a:pt x="591" y="210"/>
                      <a:pt x="566" y="210"/>
                    </a:cubicBezTo>
                    <a:cubicBezTo>
                      <a:pt x="565" y="199"/>
                      <a:pt x="564" y="188"/>
                      <a:pt x="564" y="175"/>
                    </a:cubicBezTo>
                    <a:cubicBezTo>
                      <a:pt x="557" y="175"/>
                      <a:pt x="551" y="174"/>
                      <a:pt x="544" y="174"/>
                    </a:cubicBezTo>
                    <a:cubicBezTo>
                      <a:pt x="455" y="174"/>
                      <a:pt x="367" y="174"/>
                      <a:pt x="278" y="174"/>
                    </a:cubicBezTo>
                    <a:cubicBezTo>
                      <a:pt x="267" y="173"/>
                      <a:pt x="259" y="174"/>
                      <a:pt x="253" y="187"/>
                    </a:cubicBezTo>
                    <a:cubicBezTo>
                      <a:pt x="225" y="245"/>
                      <a:pt x="180" y="271"/>
                      <a:pt x="117" y="266"/>
                    </a:cubicBezTo>
                    <a:cubicBezTo>
                      <a:pt x="66" y="263"/>
                      <a:pt x="23" y="226"/>
                      <a:pt x="4" y="168"/>
                    </a:cubicBezTo>
                    <a:cubicBezTo>
                      <a:pt x="3" y="166"/>
                      <a:pt x="1" y="164"/>
                      <a:pt x="0" y="162"/>
                    </a:cubicBezTo>
                    <a:cubicBezTo>
                      <a:pt x="0" y="144"/>
                      <a:pt x="0" y="126"/>
                      <a:pt x="0" y="108"/>
                    </a:cubicBezTo>
                    <a:close/>
                    <a:moveTo>
                      <a:pt x="132" y="190"/>
                    </a:moveTo>
                    <a:cubicBezTo>
                      <a:pt x="164" y="190"/>
                      <a:pt x="187" y="168"/>
                      <a:pt x="187" y="135"/>
                    </a:cubicBezTo>
                    <a:cubicBezTo>
                      <a:pt x="187" y="103"/>
                      <a:pt x="164" y="80"/>
                      <a:pt x="132" y="80"/>
                    </a:cubicBezTo>
                    <a:cubicBezTo>
                      <a:pt x="100" y="80"/>
                      <a:pt x="77" y="103"/>
                      <a:pt x="76" y="135"/>
                    </a:cubicBezTo>
                    <a:cubicBezTo>
                      <a:pt x="76" y="167"/>
                      <a:pt x="99" y="190"/>
                      <a:pt x="132" y="19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100"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56" name="Freeform 30">
                <a:extLst>
                  <a:ext uri="{FF2B5EF4-FFF2-40B4-BE49-F238E27FC236}">
                    <a16:creationId xmlns:a16="http://schemas.microsoft.com/office/drawing/2014/main" id="{B69C042D-41BC-0B38-9CDE-A73482F0DD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731" y="1638300"/>
                <a:ext cx="182982" cy="255516"/>
              </a:xfrm>
              <a:custGeom>
                <a:avLst/>
                <a:gdLst>
                  <a:gd name="T0" fmla="*/ 0 w 488"/>
                  <a:gd name="T1" fmla="*/ 536 h 683"/>
                  <a:gd name="T2" fmla="*/ 11 w 488"/>
                  <a:gd name="T3" fmla="*/ 534 h 683"/>
                  <a:gd name="T4" fmla="*/ 75 w 488"/>
                  <a:gd name="T5" fmla="*/ 534 h 683"/>
                  <a:gd name="T6" fmla="*/ 75 w 488"/>
                  <a:gd name="T7" fmla="*/ 570 h 683"/>
                  <a:gd name="T8" fmla="*/ 75 w 488"/>
                  <a:gd name="T9" fmla="*/ 607 h 683"/>
                  <a:gd name="T10" fmla="*/ 412 w 488"/>
                  <a:gd name="T11" fmla="*/ 607 h 683"/>
                  <a:gd name="T12" fmla="*/ 412 w 488"/>
                  <a:gd name="T13" fmla="*/ 312 h 683"/>
                  <a:gd name="T14" fmla="*/ 75 w 488"/>
                  <a:gd name="T15" fmla="*/ 312 h 683"/>
                  <a:gd name="T16" fmla="*/ 75 w 488"/>
                  <a:gd name="T17" fmla="*/ 383 h 683"/>
                  <a:gd name="T18" fmla="*/ 0 w 488"/>
                  <a:gd name="T19" fmla="*/ 383 h 683"/>
                  <a:gd name="T20" fmla="*/ 0 w 488"/>
                  <a:gd name="T21" fmla="*/ 235 h 683"/>
                  <a:gd name="T22" fmla="*/ 316 w 488"/>
                  <a:gd name="T23" fmla="*/ 235 h 683"/>
                  <a:gd name="T24" fmla="*/ 315 w 488"/>
                  <a:gd name="T25" fmla="*/ 144 h 683"/>
                  <a:gd name="T26" fmla="*/ 241 w 488"/>
                  <a:gd name="T27" fmla="*/ 84 h 683"/>
                  <a:gd name="T28" fmla="*/ 163 w 488"/>
                  <a:gd name="T29" fmla="*/ 143 h 683"/>
                  <a:gd name="T30" fmla="*/ 158 w 488"/>
                  <a:gd name="T31" fmla="*/ 164 h 683"/>
                  <a:gd name="T32" fmla="*/ 84 w 488"/>
                  <a:gd name="T33" fmla="*/ 164 h 683"/>
                  <a:gd name="T34" fmla="*/ 86 w 488"/>
                  <a:gd name="T35" fmla="*/ 135 h 683"/>
                  <a:gd name="T36" fmla="*/ 257 w 488"/>
                  <a:gd name="T37" fmla="*/ 8 h 683"/>
                  <a:gd name="T38" fmla="*/ 395 w 488"/>
                  <a:gd name="T39" fmla="*/ 169 h 683"/>
                  <a:gd name="T40" fmla="*/ 395 w 488"/>
                  <a:gd name="T41" fmla="*/ 233 h 683"/>
                  <a:gd name="T42" fmla="*/ 488 w 488"/>
                  <a:gd name="T43" fmla="*/ 233 h 683"/>
                  <a:gd name="T44" fmla="*/ 488 w 488"/>
                  <a:gd name="T45" fmla="*/ 683 h 683"/>
                  <a:gd name="T46" fmla="*/ 0 w 488"/>
                  <a:gd name="T47" fmla="*/ 683 h 683"/>
                  <a:gd name="T48" fmla="*/ 0 w 488"/>
                  <a:gd name="T49" fmla="*/ 536 h 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88" h="683">
                    <a:moveTo>
                      <a:pt x="0" y="536"/>
                    </a:moveTo>
                    <a:cubicBezTo>
                      <a:pt x="4" y="535"/>
                      <a:pt x="7" y="534"/>
                      <a:pt x="11" y="534"/>
                    </a:cubicBezTo>
                    <a:cubicBezTo>
                      <a:pt x="31" y="534"/>
                      <a:pt x="51" y="534"/>
                      <a:pt x="75" y="534"/>
                    </a:cubicBezTo>
                    <a:cubicBezTo>
                      <a:pt x="75" y="547"/>
                      <a:pt x="75" y="559"/>
                      <a:pt x="75" y="570"/>
                    </a:cubicBezTo>
                    <a:cubicBezTo>
                      <a:pt x="75" y="582"/>
                      <a:pt x="75" y="594"/>
                      <a:pt x="75" y="607"/>
                    </a:cubicBezTo>
                    <a:cubicBezTo>
                      <a:pt x="188" y="607"/>
                      <a:pt x="299" y="607"/>
                      <a:pt x="412" y="607"/>
                    </a:cubicBezTo>
                    <a:cubicBezTo>
                      <a:pt x="412" y="510"/>
                      <a:pt x="412" y="412"/>
                      <a:pt x="412" y="312"/>
                    </a:cubicBezTo>
                    <a:cubicBezTo>
                      <a:pt x="301" y="312"/>
                      <a:pt x="189" y="312"/>
                      <a:pt x="75" y="312"/>
                    </a:cubicBezTo>
                    <a:cubicBezTo>
                      <a:pt x="75" y="335"/>
                      <a:pt x="75" y="358"/>
                      <a:pt x="75" y="383"/>
                    </a:cubicBezTo>
                    <a:cubicBezTo>
                      <a:pt x="49" y="383"/>
                      <a:pt x="25" y="383"/>
                      <a:pt x="0" y="383"/>
                    </a:cubicBezTo>
                    <a:cubicBezTo>
                      <a:pt x="0" y="334"/>
                      <a:pt x="0" y="285"/>
                      <a:pt x="0" y="235"/>
                    </a:cubicBezTo>
                    <a:cubicBezTo>
                      <a:pt x="105" y="235"/>
                      <a:pt x="210" y="235"/>
                      <a:pt x="316" y="235"/>
                    </a:cubicBezTo>
                    <a:cubicBezTo>
                      <a:pt x="316" y="203"/>
                      <a:pt x="320" y="173"/>
                      <a:pt x="315" y="144"/>
                    </a:cubicBezTo>
                    <a:cubicBezTo>
                      <a:pt x="309" y="107"/>
                      <a:pt x="277" y="84"/>
                      <a:pt x="241" y="84"/>
                    </a:cubicBezTo>
                    <a:cubicBezTo>
                      <a:pt x="203" y="84"/>
                      <a:pt x="173" y="106"/>
                      <a:pt x="163" y="143"/>
                    </a:cubicBezTo>
                    <a:cubicBezTo>
                      <a:pt x="161" y="149"/>
                      <a:pt x="160" y="156"/>
                      <a:pt x="158" y="164"/>
                    </a:cubicBezTo>
                    <a:cubicBezTo>
                      <a:pt x="135" y="164"/>
                      <a:pt x="111" y="164"/>
                      <a:pt x="84" y="164"/>
                    </a:cubicBezTo>
                    <a:cubicBezTo>
                      <a:pt x="85" y="154"/>
                      <a:pt x="84" y="144"/>
                      <a:pt x="86" y="135"/>
                    </a:cubicBezTo>
                    <a:cubicBezTo>
                      <a:pt x="104" y="52"/>
                      <a:pt x="174" y="0"/>
                      <a:pt x="257" y="8"/>
                    </a:cubicBezTo>
                    <a:cubicBezTo>
                      <a:pt x="335" y="15"/>
                      <a:pt x="395" y="85"/>
                      <a:pt x="395" y="169"/>
                    </a:cubicBezTo>
                    <a:cubicBezTo>
                      <a:pt x="395" y="190"/>
                      <a:pt x="395" y="210"/>
                      <a:pt x="395" y="233"/>
                    </a:cubicBezTo>
                    <a:cubicBezTo>
                      <a:pt x="427" y="233"/>
                      <a:pt x="457" y="233"/>
                      <a:pt x="488" y="233"/>
                    </a:cubicBezTo>
                    <a:cubicBezTo>
                      <a:pt x="488" y="384"/>
                      <a:pt x="488" y="533"/>
                      <a:pt x="488" y="683"/>
                    </a:cubicBezTo>
                    <a:cubicBezTo>
                      <a:pt x="326" y="683"/>
                      <a:pt x="163" y="683"/>
                      <a:pt x="0" y="683"/>
                    </a:cubicBezTo>
                    <a:cubicBezTo>
                      <a:pt x="0" y="634"/>
                      <a:pt x="0" y="586"/>
                      <a:pt x="0" y="53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100"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5AB949D-6853-2921-EF88-9CAB8D49F068}"/>
              </a:ext>
            </a:extLst>
          </p:cNvPr>
          <p:cNvGrpSpPr/>
          <p:nvPr/>
        </p:nvGrpSpPr>
        <p:grpSpPr>
          <a:xfrm>
            <a:off x="9791855" y="4901424"/>
            <a:ext cx="892875" cy="683611"/>
            <a:chOff x="9877580" y="4263787"/>
            <a:chExt cx="892875" cy="683611"/>
          </a:xfrm>
        </p:grpSpPr>
        <p:sp>
          <p:nvSpPr>
            <p:cNvPr id="352" name="TextBox 351">
              <a:extLst>
                <a:ext uri="{FF2B5EF4-FFF2-40B4-BE49-F238E27FC236}">
                  <a16:creationId xmlns:a16="http://schemas.microsoft.com/office/drawing/2014/main" id="{06C8AE36-73BA-6854-FA54-F21D0960E0F4}"/>
                </a:ext>
              </a:extLst>
            </p:cNvPr>
            <p:cNvSpPr txBox="1"/>
            <p:nvPr/>
          </p:nvSpPr>
          <p:spPr>
            <a:xfrm>
              <a:off x="9877580" y="4778121"/>
              <a:ext cx="89287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1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Packages</a:t>
              </a:r>
              <a:endParaRPr lang="en-GB" sz="11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356" name="Group 355">
              <a:extLst>
                <a:ext uri="{FF2B5EF4-FFF2-40B4-BE49-F238E27FC236}">
                  <a16:creationId xmlns:a16="http://schemas.microsoft.com/office/drawing/2014/main" id="{27DB7904-9C00-A462-84EE-A3D1BA62053F}"/>
                </a:ext>
              </a:extLst>
            </p:cNvPr>
            <p:cNvGrpSpPr/>
            <p:nvPr/>
          </p:nvGrpSpPr>
          <p:grpSpPr>
            <a:xfrm>
              <a:off x="10117095" y="4263787"/>
              <a:ext cx="413845" cy="413845"/>
              <a:chOff x="-12906813" y="2416344"/>
              <a:chExt cx="4833093" cy="2629956"/>
            </a:xfrm>
          </p:grpSpPr>
          <p:sp>
            <p:nvSpPr>
              <p:cNvPr id="357" name="Freeform: Shape 356">
                <a:extLst>
                  <a:ext uri="{FF2B5EF4-FFF2-40B4-BE49-F238E27FC236}">
                    <a16:creationId xmlns:a16="http://schemas.microsoft.com/office/drawing/2014/main" id="{50F7BD8F-972E-38C8-CEC6-5DDF13C9845C}"/>
                  </a:ext>
                </a:extLst>
              </p:cNvPr>
              <p:cNvSpPr/>
              <p:nvPr/>
            </p:nvSpPr>
            <p:spPr>
              <a:xfrm>
                <a:off x="-12891058" y="2416344"/>
                <a:ext cx="4817338" cy="1590147"/>
              </a:xfrm>
              <a:custGeom>
                <a:avLst/>
                <a:gdLst>
                  <a:gd name="connsiteX0" fmla="*/ 2334728 w 4817338"/>
                  <a:gd name="connsiteY0" fmla="*/ 57 h 1590147"/>
                  <a:gd name="connsiteX1" fmla="*/ 2311156 w 4817338"/>
                  <a:gd name="connsiteY1" fmla="*/ 3692 h 1590147"/>
                  <a:gd name="connsiteX2" fmla="*/ 82306 w 4817338"/>
                  <a:gd name="connsiteY2" fmla="*/ 588111 h 1590147"/>
                  <a:gd name="connsiteX3" fmla="*/ 98 w 4817338"/>
                  <a:gd name="connsiteY3" fmla="*/ 687807 h 1590147"/>
                  <a:gd name="connsiteX4" fmla="*/ 73459 w 4817338"/>
                  <a:gd name="connsiteY4" fmla="*/ 793812 h 1590147"/>
                  <a:gd name="connsiteX5" fmla="*/ 2325234 w 4817338"/>
                  <a:gd name="connsiteY5" fmla="*/ 1583667 h 1590147"/>
                  <a:gd name="connsiteX6" fmla="*/ 2325273 w 4817338"/>
                  <a:gd name="connsiteY6" fmla="*/ 1583628 h 1590147"/>
                  <a:gd name="connsiteX7" fmla="*/ 2399937 w 4817338"/>
                  <a:gd name="connsiteY7" fmla="*/ 1584206 h 1590147"/>
                  <a:gd name="connsiteX8" fmla="*/ 4742532 w 4817338"/>
                  <a:gd name="connsiteY8" fmla="*/ 794351 h 1590147"/>
                  <a:gd name="connsiteX9" fmla="*/ 4817235 w 4817338"/>
                  <a:gd name="connsiteY9" fmla="*/ 687807 h 1590147"/>
                  <a:gd name="connsiteX10" fmla="*/ 4733431 w 4817338"/>
                  <a:gd name="connsiteY10" fmla="*/ 587807 h 1590147"/>
                  <a:gd name="connsiteX11" fmla="*/ 2367910 w 4817338"/>
                  <a:gd name="connsiteY11" fmla="*/ 3349 h 1590147"/>
                  <a:gd name="connsiteX12" fmla="*/ 2334728 w 4817338"/>
                  <a:gd name="connsiteY12" fmla="*/ 136 h 1590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817338" h="1590147">
                    <a:moveTo>
                      <a:pt x="2334728" y="57"/>
                    </a:moveTo>
                    <a:cubicBezTo>
                      <a:pt x="2326772" y="439"/>
                      <a:pt x="2318886" y="1664"/>
                      <a:pt x="2311156" y="3692"/>
                    </a:cubicBezTo>
                    <a:lnTo>
                      <a:pt x="82306" y="588111"/>
                    </a:lnTo>
                    <a:cubicBezTo>
                      <a:pt x="35387" y="600436"/>
                      <a:pt x="2087" y="640771"/>
                      <a:pt x="98" y="687807"/>
                    </a:cubicBezTo>
                    <a:cubicBezTo>
                      <a:pt x="-1930" y="734843"/>
                      <a:pt x="27765" y="777745"/>
                      <a:pt x="73459" y="793812"/>
                    </a:cubicBezTo>
                    <a:lnTo>
                      <a:pt x="2325234" y="1583667"/>
                    </a:lnTo>
                    <a:lnTo>
                      <a:pt x="2325273" y="1583628"/>
                    </a:lnTo>
                    <a:cubicBezTo>
                      <a:pt x="2349345" y="1592122"/>
                      <a:pt x="2375719" y="1592318"/>
                      <a:pt x="2399937" y="1584206"/>
                    </a:cubicBezTo>
                    <a:lnTo>
                      <a:pt x="4742532" y="794351"/>
                    </a:lnTo>
                    <a:cubicBezTo>
                      <a:pt x="4789000" y="778656"/>
                      <a:pt x="4819342" y="735372"/>
                      <a:pt x="4817235" y="687807"/>
                    </a:cubicBezTo>
                    <a:cubicBezTo>
                      <a:pt x="4815178" y="640232"/>
                      <a:pt x="4781113" y="599593"/>
                      <a:pt x="4733431" y="587807"/>
                    </a:cubicBezTo>
                    <a:lnTo>
                      <a:pt x="2367910" y="3349"/>
                    </a:lnTo>
                    <a:cubicBezTo>
                      <a:pt x="2357075" y="665"/>
                      <a:pt x="2345906" y="-403"/>
                      <a:pt x="2334728" y="13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358" name="Freeform: Shape 357">
                <a:extLst>
                  <a:ext uri="{FF2B5EF4-FFF2-40B4-BE49-F238E27FC236}">
                    <a16:creationId xmlns:a16="http://schemas.microsoft.com/office/drawing/2014/main" id="{1D63947C-84EF-61B1-B704-1482F3B39707}"/>
                  </a:ext>
                </a:extLst>
              </p:cNvPr>
              <p:cNvSpPr/>
              <p:nvPr/>
            </p:nvSpPr>
            <p:spPr>
              <a:xfrm>
                <a:off x="-12901327" y="3534345"/>
                <a:ext cx="4821045" cy="957634"/>
              </a:xfrm>
              <a:custGeom>
                <a:avLst/>
                <a:gdLst>
                  <a:gd name="connsiteX0" fmla="*/ 116245 w 4821045"/>
                  <a:gd name="connsiteY0" fmla="*/ 106 h 957634"/>
                  <a:gd name="connsiteX1" fmla="*/ 1775 w 4821045"/>
                  <a:gd name="connsiteY1" fmla="*/ 88897 h 957634"/>
                  <a:gd name="connsiteX2" fmla="*/ 77125 w 4821045"/>
                  <a:gd name="connsiteY2" fmla="*/ 210666 h 957634"/>
                  <a:gd name="connsiteX3" fmla="*/ 2328900 w 4821045"/>
                  <a:gd name="connsiteY3" fmla="*/ 951810 h 957634"/>
                  <a:gd name="connsiteX4" fmla="*/ 2328939 w 4821045"/>
                  <a:gd name="connsiteY4" fmla="*/ 951810 h 957634"/>
                  <a:gd name="connsiteX5" fmla="*/ 2399479 w 4821045"/>
                  <a:gd name="connsiteY5" fmla="*/ 952378 h 957634"/>
                  <a:gd name="connsiteX6" fmla="*/ 4742074 w 4821045"/>
                  <a:gd name="connsiteY6" fmla="*/ 211244 h 957634"/>
                  <a:gd name="connsiteX7" fmla="*/ 4742074 w 4821045"/>
                  <a:gd name="connsiteY7" fmla="*/ 211205 h 957634"/>
                  <a:gd name="connsiteX8" fmla="*/ 4808469 w 4821045"/>
                  <a:gd name="connsiteY8" fmla="*/ 157742 h 957634"/>
                  <a:gd name="connsiteX9" fmla="*/ 4815513 w 4821045"/>
                  <a:gd name="connsiteY9" fmla="*/ 74427 h 957634"/>
                  <a:gd name="connsiteX10" fmla="*/ 4758983 w 4821045"/>
                  <a:gd name="connsiteY10" fmla="*/ 11206 h 957634"/>
                  <a:gd name="connsiteX11" fmla="*/ 4672759 w 4821045"/>
                  <a:gd name="connsiteY11" fmla="*/ 6004 h 957634"/>
                  <a:gd name="connsiteX12" fmla="*/ 2365532 w 4821045"/>
                  <a:gd name="connsiteY12" fmla="*/ 735813 h 957634"/>
                  <a:gd name="connsiteX13" fmla="*/ 148928 w 4821045"/>
                  <a:gd name="connsiteY13" fmla="*/ 6229 h 957634"/>
                  <a:gd name="connsiteX14" fmla="*/ 116206 w 4821045"/>
                  <a:gd name="connsiteY14" fmla="*/ 106 h 957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821045" h="957634">
                    <a:moveTo>
                      <a:pt x="116245" y="106"/>
                    </a:moveTo>
                    <a:cubicBezTo>
                      <a:pt x="60528" y="-2148"/>
                      <a:pt x="11651" y="35777"/>
                      <a:pt x="1775" y="88897"/>
                    </a:cubicBezTo>
                    <a:cubicBezTo>
                      <a:pt x="-8100" y="142008"/>
                      <a:pt x="24083" y="194021"/>
                      <a:pt x="77125" y="210666"/>
                    </a:cubicBezTo>
                    <a:lnTo>
                      <a:pt x="2328900" y="951810"/>
                    </a:lnTo>
                    <a:lnTo>
                      <a:pt x="2328939" y="951810"/>
                    </a:lnTo>
                    <a:cubicBezTo>
                      <a:pt x="2351747" y="959383"/>
                      <a:pt x="2376515" y="959569"/>
                      <a:pt x="2399479" y="952378"/>
                    </a:cubicBezTo>
                    <a:lnTo>
                      <a:pt x="4742074" y="211244"/>
                    </a:lnTo>
                    <a:lnTo>
                      <a:pt x="4742074" y="211205"/>
                    </a:lnTo>
                    <a:cubicBezTo>
                      <a:pt x="4770731" y="202750"/>
                      <a:pt x="4794655" y="183499"/>
                      <a:pt x="4808469" y="157742"/>
                    </a:cubicBezTo>
                    <a:cubicBezTo>
                      <a:pt x="4822283" y="132024"/>
                      <a:pt x="4824850" y="101986"/>
                      <a:pt x="4815513" y="74427"/>
                    </a:cubicBezTo>
                    <a:cubicBezTo>
                      <a:pt x="4806206" y="46838"/>
                      <a:pt x="4785847" y="24070"/>
                      <a:pt x="4758983" y="11206"/>
                    </a:cubicBezTo>
                    <a:cubicBezTo>
                      <a:pt x="4732120" y="-1648"/>
                      <a:pt x="4701043" y="-3529"/>
                      <a:pt x="4672759" y="6004"/>
                    </a:cubicBezTo>
                    <a:lnTo>
                      <a:pt x="2365532" y="735813"/>
                    </a:lnTo>
                    <a:lnTo>
                      <a:pt x="148928" y="6229"/>
                    </a:lnTo>
                    <a:cubicBezTo>
                      <a:pt x="138406" y="2634"/>
                      <a:pt x="127384" y="527"/>
                      <a:pt x="116206" y="106"/>
                    </a:cubicBezTo>
                    <a:close/>
                  </a:path>
                </a:pathLst>
              </a:custGeom>
              <a:solidFill>
                <a:schemeClr val="bg2"/>
              </a:solidFill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359" name="Freeform: Shape 358">
                <a:extLst>
                  <a:ext uri="{FF2B5EF4-FFF2-40B4-BE49-F238E27FC236}">
                    <a16:creationId xmlns:a16="http://schemas.microsoft.com/office/drawing/2014/main" id="{63232F6E-0B51-D51D-C418-30D5384837C2}"/>
                  </a:ext>
                </a:extLst>
              </p:cNvPr>
              <p:cNvSpPr/>
              <p:nvPr/>
            </p:nvSpPr>
            <p:spPr>
              <a:xfrm>
                <a:off x="-12906813" y="4088667"/>
                <a:ext cx="4821063" cy="957633"/>
              </a:xfrm>
              <a:custGeom>
                <a:avLst/>
                <a:gdLst>
                  <a:gd name="connsiteX0" fmla="*/ 116245 w 4821063"/>
                  <a:gd name="connsiteY0" fmla="*/ 106 h 957633"/>
                  <a:gd name="connsiteX1" fmla="*/ 1775 w 4821063"/>
                  <a:gd name="connsiteY1" fmla="*/ 88888 h 957633"/>
                  <a:gd name="connsiteX2" fmla="*/ 77125 w 4821063"/>
                  <a:gd name="connsiteY2" fmla="*/ 210676 h 957633"/>
                  <a:gd name="connsiteX3" fmla="*/ 2328900 w 4821063"/>
                  <a:gd name="connsiteY3" fmla="*/ 951800 h 957633"/>
                  <a:gd name="connsiteX4" fmla="*/ 2328939 w 4821063"/>
                  <a:gd name="connsiteY4" fmla="*/ 951800 h 957633"/>
                  <a:gd name="connsiteX5" fmla="*/ 2399479 w 4821063"/>
                  <a:gd name="connsiteY5" fmla="*/ 952378 h 957633"/>
                  <a:gd name="connsiteX6" fmla="*/ 4742074 w 4821063"/>
                  <a:gd name="connsiteY6" fmla="*/ 211244 h 957633"/>
                  <a:gd name="connsiteX7" fmla="*/ 4742074 w 4821063"/>
                  <a:gd name="connsiteY7" fmla="*/ 211205 h 957633"/>
                  <a:gd name="connsiteX8" fmla="*/ 4808469 w 4821063"/>
                  <a:gd name="connsiteY8" fmla="*/ 157742 h 957633"/>
                  <a:gd name="connsiteX9" fmla="*/ 4815542 w 4821063"/>
                  <a:gd name="connsiteY9" fmla="*/ 74427 h 957633"/>
                  <a:gd name="connsiteX10" fmla="*/ 4758983 w 4821063"/>
                  <a:gd name="connsiteY10" fmla="*/ 11206 h 957633"/>
                  <a:gd name="connsiteX11" fmla="*/ 4672759 w 4821063"/>
                  <a:gd name="connsiteY11" fmla="*/ 6004 h 957633"/>
                  <a:gd name="connsiteX12" fmla="*/ 2365532 w 4821063"/>
                  <a:gd name="connsiteY12" fmla="*/ 735813 h 957633"/>
                  <a:gd name="connsiteX13" fmla="*/ 148928 w 4821063"/>
                  <a:gd name="connsiteY13" fmla="*/ 6229 h 957633"/>
                  <a:gd name="connsiteX14" fmla="*/ 148967 w 4821063"/>
                  <a:gd name="connsiteY14" fmla="*/ 6268 h 957633"/>
                  <a:gd name="connsiteX15" fmla="*/ 116245 w 4821063"/>
                  <a:gd name="connsiteY15" fmla="*/ 106 h 95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821063" h="957633">
                    <a:moveTo>
                      <a:pt x="116245" y="106"/>
                    </a:moveTo>
                    <a:cubicBezTo>
                      <a:pt x="60519" y="-2147"/>
                      <a:pt x="11611" y="35738"/>
                      <a:pt x="1775" y="88888"/>
                    </a:cubicBezTo>
                    <a:cubicBezTo>
                      <a:pt x="-8100" y="142008"/>
                      <a:pt x="24083" y="194021"/>
                      <a:pt x="77125" y="210676"/>
                    </a:cubicBezTo>
                    <a:lnTo>
                      <a:pt x="2328900" y="951800"/>
                    </a:lnTo>
                    <a:lnTo>
                      <a:pt x="2328939" y="951800"/>
                    </a:lnTo>
                    <a:cubicBezTo>
                      <a:pt x="2351747" y="959383"/>
                      <a:pt x="2376515" y="959569"/>
                      <a:pt x="2399479" y="952378"/>
                    </a:cubicBezTo>
                    <a:lnTo>
                      <a:pt x="4742074" y="211244"/>
                    </a:lnTo>
                    <a:lnTo>
                      <a:pt x="4742074" y="211205"/>
                    </a:lnTo>
                    <a:cubicBezTo>
                      <a:pt x="4770731" y="202750"/>
                      <a:pt x="4794655" y="183499"/>
                      <a:pt x="4808469" y="157742"/>
                    </a:cubicBezTo>
                    <a:cubicBezTo>
                      <a:pt x="4822322" y="132024"/>
                      <a:pt x="4824850" y="101986"/>
                      <a:pt x="4815542" y="74427"/>
                    </a:cubicBezTo>
                    <a:cubicBezTo>
                      <a:pt x="4806245" y="46838"/>
                      <a:pt x="4785847" y="24070"/>
                      <a:pt x="4758983" y="11206"/>
                    </a:cubicBezTo>
                    <a:cubicBezTo>
                      <a:pt x="4732159" y="-1648"/>
                      <a:pt x="4701083" y="-3529"/>
                      <a:pt x="4672759" y="6004"/>
                    </a:cubicBezTo>
                    <a:lnTo>
                      <a:pt x="2365532" y="735813"/>
                    </a:lnTo>
                    <a:lnTo>
                      <a:pt x="148928" y="6229"/>
                    </a:lnTo>
                    <a:lnTo>
                      <a:pt x="148967" y="6268"/>
                    </a:lnTo>
                    <a:cubicBezTo>
                      <a:pt x="138445" y="2633"/>
                      <a:pt x="127423" y="566"/>
                      <a:pt x="116245" y="106"/>
                    </a:cubicBezTo>
                    <a:close/>
                  </a:path>
                </a:pathLst>
              </a:custGeom>
              <a:solidFill>
                <a:schemeClr val="bg2"/>
              </a:solidFill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</p:grpSp>
      </p:grpSp>
      <p:grpSp>
        <p:nvGrpSpPr>
          <p:cNvPr id="379" name="Group 378">
            <a:extLst>
              <a:ext uri="{FF2B5EF4-FFF2-40B4-BE49-F238E27FC236}">
                <a16:creationId xmlns:a16="http://schemas.microsoft.com/office/drawing/2014/main" id="{731D9DE0-9931-EB33-343B-F4D1BA5157BF}"/>
              </a:ext>
            </a:extLst>
          </p:cNvPr>
          <p:cNvGrpSpPr/>
          <p:nvPr/>
        </p:nvGrpSpPr>
        <p:grpSpPr>
          <a:xfrm>
            <a:off x="8248412" y="3762294"/>
            <a:ext cx="1125965" cy="677333"/>
            <a:chOff x="9506130" y="3154409"/>
            <a:chExt cx="1125965" cy="677333"/>
          </a:xfrm>
        </p:grpSpPr>
        <p:sp>
          <p:nvSpPr>
            <p:cNvPr id="326" name="TextBox 325">
              <a:extLst>
                <a:ext uri="{FF2B5EF4-FFF2-40B4-BE49-F238E27FC236}">
                  <a16:creationId xmlns:a16="http://schemas.microsoft.com/office/drawing/2014/main" id="{C6FF82CE-B7C2-99C1-1FAB-52D7348D7F3C}"/>
                </a:ext>
              </a:extLst>
            </p:cNvPr>
            <p:cNvSpPr txBox="1"/>
            <p:nvPr/>
          </p:nvSpPr>
          <p:spPr>
            <a:xfrm>
              <a:off x="9506130" y="3662465"/>
              <a:ext cx="112596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1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Business Logic</a:t>
              </a:r>
              <a:endParaRPr lang="en-GB" sz="11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339" name="Group 338">
              <a:extLst>
                <a:ext uri="{FF2B5EF4-FFF2-40B4-BE49-F238E27FC236}">
                  <a16:creationId xmlns:a16="http://schemas.microsoft.com/office/drawing/2014/main" id="{8BFC71D9-3D2B-602D-FD15-35375BEB7B81}"/>
                </a:ext>
              </a:extLst>
            </p:cNvPr>
            <p:cNvGrpSpPr/>
            <p:nvPr/>
          </p:nvGrpSpPr>
          <p:grpSpPr>
            <a:xfrm>
              <a:off x="9889443" y="3154409"/>
              <a:ext cx="359338" cy="431806"/>
              <a:chOff x="12188314" y="2681453"/>
              <a:chExt cx="1276302" cy="1596629"/>
            </a:xfrm>
          </p:grpSpPr>
          <p:sp>
            <p:nvSpPr>
              <p:cNvPr id="340" name="Freeform: Shape 339">
                <a:extLst>
                  <a:ext uri="{FF2B5EF4-FFF2-40B4-BE49-F238E27FC236}">
                    <a16:creationId xmlns:a16="http://schemas.microsoft.com/office/drawing/2014/main" id="{25E82649-5661-07AE-1FA9-CADD6DAE4B21}"/>
                  </a:ext>
                </a:extLst>
              </p:cNvPr>
              <p:cNvSpPr/>
              <p:nvPr/>
            </p:nvSpPr>
            <p:spPr>
              <a:xfrm>
                <a:off x="12188314" y="2681453"/>
                <a:ext cx="1276302" cy="1596629"/>
              </a:xfrm>
              <a:custGeom>
                <a:avLst/>
                <a:gdLst>
                  <a:gd name="connsiteX0" fmla="*/ 1276229 w 1276302"/>
                  <a:gd name="connsiteY0" fmla="*/ 307187 h 1596629"/>
                  <a:gd name="connsiteX1" fmla="*/ 1276229 w 1276302"/>
                  <a:gd name="connsiteY1" fmla="*/ 669289 h 1596629"/>
                  <a:gd name="connsiteX2" fmla="*/ 843900 w 1276302"/>
                  <a:gd name="connsiteY2" fmla="*/ 1462396 h 1596629"/>
                  <a:gd name="connsiteX3" fmla="*/ 655487 w 1276302"/>
                  <a:gd name="connsiteY3" fmla="*/ 1589305 h 1596629"/>
                  <a:gd name="connsiteX4" fmla="*/ 631489 w 1276302"/>
                  <a:gd name="connsiteY4" fmla="*/ 1596629 h 1596629"/>
                  <a:gd name="connsiteX5" fmla="*/ 607123 w 1276302"/>
                  <a:gd name="connsiteY5" fmla="*/ 1589047 h 1596629"/>
                  <a:gd name="connsiteX6" fmla="*/ 423533 w 1276302"/>
                  <a:gd name="connsiteY6" fmla="*/ 1462617 h 1596629"/>
                  <a:gd name="connsiteX7" fmla="*/ 0 w 1276302"/>
                  <a:gd name="connsiteY7" fmla="*/ 675510 h 1596629"/>
                  <a:gd name="connsiteX8" fmla="*/ 0 w 1276302"/>
                  <a:gd name="connsiteY8" fmla="*/ 307224 h 1596629"/>
                  <a:gd name="connsiteX9" fmla="*/ 13766 w 1276302"/>
                  <a:gd name="connsiteY9" fmla="*/ 275754 h 1596629"/>
                  <a:gd name="connsiteX10" fmla="*/ 46192 w 1276302"/>
                  <a:gd name="connsiteY10" fmla="*/ 264455 h 1596629"/>
                  <a:gd name="connsiteX11" fmla="*/ 111192 w 1276302"/>
                  <a:gd name="connsiteY11" fmla="*/ 266921 h 1596629"/>
                  <a:gd name="connsiteX12" fmla="*/ 597591 w 1276302"/>
                  <a:gd name="connsiteY12" fmla="*/ 28783 h 1596629"/>
                  <a:gd name="connsiteX13" fmla="*/ 638151 w 1276302"/>
                  <a:gd name="connsiteY13" fmla="*/ 0 h 1596629"/>
                  <a:gd name="connsiteX14" fmla="*/ 678712 w 1276302"/>
                  <a:gd name="connsiteY14" fmla="*/ 28783 h 1596629"/>
                  <a:gd name="connsiteX15" fmla="*/ 1165110 w 1276302"/>
                  <a:gd name="connsiteY15" fmla="*/ 266921 h 1596629"/>
                  <a:gd name="connsiteX16" fmla="*/ 1230111 w 1276302"/>
                  <a:gd name="connsiteY16" fmla="*/ 264455 h 1596629"/>
                  <a:gd name="connsiteX17" fmla="*/ 1262537 w 1276302"/>
                  <a:gd name="connsiteY17" fmla="*/ 275754 h 1596629"/>
                  <a:gd name="connsiteX18" fmla="*/ 1276303 w 1276302"/>
                  <a:gd name="connsiteY18" fmla="*/ 307224 h 1596629"/>
                  <a:gd name="connsiteX19" fmla="*/ 1276303 w 1276302"/>
                  <a:gd name="connsiteY19" fmla="*/ 307224 h 1596629"/>
                  <a:gd name="connsiteX20" fmla="*/ 1190360 w 1276302"/>
                  <a:gd name="connsiteY20" fmla="*/ 352385 h 1596629"/>
                  <a:gd name="connsiteX21" fmla="*/ 1165073 w 1276302"/>
                  <a:gd name="connsiteY21" fmla="*/ 352717 h 1596629"/>
                  <a:gd name="connsiteX22" fmla="*/ 638115 w 1276302"/>
                  <a:gd name="connsiteY22" fmla="*/ 132687 h 1596629"/>
                  <a:gd name="connsiteX23" fmla="*/ 111156 w 1276302"/>
                  <a:gd name="connsiteY23" fmla="*/ 352717 h 1596629"/>
                  <a:gd name="connsiteX24" fmla="*/ 85870 w 1276302"/>
                  <a:gd name="connsiteY24" fmla="*/ 352385 h 1596629"/>
                  <a:gd name="connsiteX25" fmla="*/ 85870 w 1276302"/>
                  <a:gd name="connsiteY25" fmla="*/ 675510 h 1596629"/>
                  <a:gd name="connsiteX26" fmla="*/ 472264 w 1276302"/>
                  <a:gd name="connsiteY26" fmla="*/ 1391911 h 1596629"/>
                  <a:gd name="connsiteX27" fmla="*/ 631747 w 1276302"/>
                  <a:gd name="connsiteY27" fmla="*/ 1501742 h 1596629"/>
                  <a:gd name="connsiteX28" fmla="*/ 795941 w 1276302"/>
                  <a:gd name="connsiteY28" fmla="*/ 1391212 h 1596629"/>
                  <a:gd name="connsiteX29" fmla="*/ 1190360 w 1276302"/>
                  <a:gd name="connsiteY29" fmla="*/ 669326 h 1596629"/>
                  <a:gd name="connsiteX30" fmla="*/ 1190360 w 1276302"/>
                  <a:gd name="connsiteY30" fmla="*/ 352422 h 1596629"/>
                  <a:gd name="connsiteX31" fmla="*/ 1190360 w 1276302"/>
                  <a:gd name="connsiteY31" fmla="*/ 352422 h 1596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276302" h="1596629">
                    <a:moveTo>
                      <a:pt x="1276229" y="307187"/>
                    </a:moveTo>
                    <a:lnTo>
                      <a:pt x="1276229" y="669289"/>
                    </a:lnTo>
                    <a:cubicBezTo>
                      <a:pt x="1276229" y="983543"/>
                      <a:pt x="1114612" y="1280056"/>
                      <a:pt x="843900" y="1462396"/>
                    </a:cubicBezTo>
                    <a:lnTo>
                      <a:pt x="655487" y="1589305"/>
                    </a:lnTo>
                    <a:cubicBezTo>
                      <a:pt x="648236" y="1594200"/>
                      <a:pt x="639844" y="1596629"/>
                      <a:pt x="631489" y="1596629"/>
                    </a:cubicBezTo>
                    <a:cubicBezTo>
                      <a:pt x="623134" y="1596629"/>
                      <a:pt x="614485" y="1594126"/>
                      <a:pt x="607123" y="1589047"/>
                    </a:cubicBezTo>
                    <a:lnTo>
                      <a:pt x="423533" y="1462617"/>
                    </a:lnTo>
                    <a:cubicBezTo>
                      <a:pt x="158342" y="1279946"/>
                      <a:pt x="0" y="985715"/>
                      <a:pt x="0" y="675510"/>
                    </a:cubicBezTo>
                    <a:lnTo>
                      <a:pt x="0" y="307224"/>
                    </a:lnTo>
                    <a:cubicBezTo>
                      <a:pt x="0" y="295262"/>
                      <a:pt x="5006" y="283852"/>
                      <a:pt x="13766" y="275754"/>
                    </a:cubicBezTo>
                    <a:cubicBezTo>
                      <a:pt x="22526" y="267657"/>
                      <a:pt x="33862" y="263535"/>
                      <a:pt x="46192" y="264455"/>
                    </a:cubicBezTo>
                    <a:cubicBezTo>
                      <a:pt x="67503" y="266037"/>
                      <a:pt x="89145" y="266921"/>
                      <a:pt x="111192" y="266921"/>
                    </a:cubicBezTo>
                    <a:cubicBezTo>
                      <a:pt x="363575" y="266921"/>
                      <a:pt x="556699" y="145864"/>
                      <a:pt x="597591" y="28783"/>
                    </a:cubicBezTo>
                    <a:cubicBezTo>
                      <a:pt x="603627" y="11557"/>
                      <a:pt x="619895" y="0"/>
                      <a:pt x="638151" y="0"/>
                    </a:cubicBezTo>
                    <a:cubicBezTo>
                      <a:pt x="656407" y="0"/>
                      <a:pt x="672676" y="11520"/>
                      <a:pt x="678712" y="28783"/>
                    </a:cubicBezTo>
                    <a:cubicBezTo>
                      <a:pt x="719604" y="145864"/>
                      <a:pt x="912691" y="266921"/>
                      <a:pt x="1165110" y="266921"/>
                    </a:cubicBezTo>
                    <a:cubicBezTo>
                      <a:pt x="1187157" y="266921"/>
                      <a:pt x="1208800" y="266037"/>
                      <a:pt x="1230111" y="264455"/>
                    </a:cubicBezTo>
                    <a:cubicBezTo>
                      <a:pt x="1242441" y="263535"/>
                      <a:pt x="1253814" y="267694"/>
                      <a:pt x="1262537" y="275754"/>
                    </a:cubicBezTo>
                    <a:cubicBezTo>
                      <a:pt x="1271297" y="283889"/>
                      <a:pt x="1276303" y="295299"/>
                      <a:pt x="1276303" y="307224"/>
                    </a:cubicBezTo>
                    <a:lnTo>
                      <a:pt x="1276303" y="307224"/>
                    </a:lnTo>
                    <a:close/>
                    <a:moveTo>
                      <a:pt x="1190360" y="352385"/>
                    </a:moveTo>
                    <a:cubicBezTo>
                      <a:pt x="1181968" y="352606"/>
                      <a:pt x="1173539" y="352717"/>
                      <a:pt x="1165073" y="352717"/>
                    </a:cubicBezTo>
                    <a:cubicBezTo>
                      <a:pt x="941768" y="352717"/>
                      <a:pt x="733223" y="262210"/>
                      <a:pt x="638115" y="132687"/>
                    </a:cubicBezTo>
                    <a:cubicBezTo>
                      <a:pt x="543007" y="262210"/>
                      <a:pt x="334461" y="352717"/>
                      <a:pt x="111156" y="352717"/>
                    </a:cubicBezTo>
                    <a:cubicBezTo>
                      <a:pt x="102690" y="352717"/>
                      <a:pt x="94261" y="352569"/>
                      <a:pt x="85870" y="352385"/>
                    </a:cubicBezTo>
                    <a:lnTo>
                      <a:pt x="85870" y="675510"/>
                    </a:lnTo>
                    <a:cubicBezTo>
                      <a:pt x="85870" y="957484"/>
                      <a:pt x="230298" y="1225252"/>
                      <a:pt x="472264" y="1391911"/>
                    </a:cubicBezTo>
                    <a:lnTo>
                      <a:pt x="631747" y="1501742"/>
                    </a:lnTo>
                    <a:lnTo>
                      <a:pt x="795941" y="1391212"/>
                    </a:lnTo>
                    <a:cubicBezTo>
                      <a:pt x="1042949" y="1224810"/>
                      <a:pt x="1190360" y="954981"/>
                      <a:pt x="1190360" y="669326"/>
                    </a:cubicBezTo>
                    <a:lnTo>
                      <a:pt x="1190360" y="352422"/>
                    </a:lnTo>
                    <a:lnTo>
                      <a:pt x="1190360" y="352422"/>
                    </a:lnTo>
                    <a:close/>
                  </a:path>
                </a:pathLst>
              </a:custGeom>
              <a:solidFill>
                <a:schemeClr val="bg2"/>
              </a:solidFill>
              <a:ln w="36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341" name="Freeform: Shape 340">
                <a:extLst>
                  <a:ext uri="{FF2B5EF4-FFF2-40B4-BE49-F238E27FC236}">
                    <a16:creationId xmlns:a16="http://schemas.microsoft.com/office/drawing/2014/main" id="{9AC4409D-A249-6AD8-E51A-853D6179E7DB}"/>
                  </a:ext>
                </a:extLst>
              </p:cNvPr>
              <p:cNvSpPr/>
              <p:nvPr/>
            </p:nvSpPr>
            <p:spPr>
              <a:xfrm>
                <a:off x="12549717" y="3270420"/>
                <a:ext cx="553463" cy="418662"/>
              </a:xfrm>
              <a:custGeom>
                <a:avLst/>
                <a:gdLst>
                  <a:gd name="connsiteX0" fmla="*/ 538737 w 553463"/>
                  <a:gd name="connsiteY0" fmla="*/ 10538 h 418662"/>
                  <a:gd name="connsiteX1" fmla="*/ 542896 w 553463"/>
                  <a:gd name="connsiteY1" fmla="*/ 71121 h 418662"/>
                  <a:gd name="connsiteX2" fmla="*/ 269792 w 553463"/>
                  <a:gd name="connsiteY2" fmla="*/ 384234 h 418662"/>
                  <a:gd name="connsiteX3" fmla="*/ 229746 w 553463"/>
                  <a:gd name="connsiteY3" fmla="*/ 417470 h 418662"/>
                  <a:gd name="connsiteX4" fmla="*/ 168868 w 553463"/>
                  <a:gd name="connsiteY4" fmla="*/ 385154 h 418662"/>
                  <a:gd name="connsiteX5" fmla="*/ 12588 w 553463"/>
                  <a:gd name="connsiteY5" fmla="*/ 228874 h 418662"/>
                  <a:gd name="connsiteX6" fmla="*/ 12588 w 553463"/>
                  <a:gd name="connsiteY6" fmla="*/ 168143 h 418662"/>
                  <a:gd name="connsiteX7" fmla="*/ 73319 w 553463"/>
                  <a:gd name="connsiteY7" fmla="*/ 168143 h 418662"/>
                  <a:gd name="connsiteX8" fmla="*/ 218079 w 553463"/>
                  <a:gd name="connsiteY8" fmla="*/ 312903 h 418662"/>
                  <a:gd name="connsiteX9" fmla="*/ 478153 w 553463"/>
                  <a:gd name="connsiteY9" fmla="*/ 14697 h 418662"/>
                  <a:gd name="connsiteX10" fmla="*/ 538737 w 553463"/>
                  <a:gd name="connsiteY10" fmla="*/ 10538 h 418662"/>
                  <a:gd name="connsiteX11" fmla="*/ 538737 w 553463"/>
                  <a:gd name="connsiteY11" fmla="*/ 10538 h 418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53463" h="418662">
                    <a:moveTo>
                      <a:pt x="538737" y="10538"/>
                    </a:moveTo>
                    <a:cubicBezTo>
                      <a:pt x="556625" y="26144"/>
                      <a:pt x="558465" y="53270"/>
                      <a:pt x="542896" y="71121"/>
                    </a:cubicBezTo>
                    <a:cubicBezTo>
                      <a:pt x="523904" y="92911"/>
                      <a:pt x="302918" y="346839"/>
                      <a:pt x="269792" y="384234"/>
                    </a:cubicBezTo>
                    <a:cubicBezTo>
                      <a:pt x="258308" y="397190"/>
                      <a:pt x="247597" y="413017"/>
                      <a:pt x="229746" y="417470"/>
                    </a:cubicBezTo>
                    <a:cubicBezTo>
                      <a:pt x="203282" y="424096"/>
                      <a:pt x="185431" y="401680"/>
                      <a:pt x="168868" y="385154"/>
                    </a:cubicBezTo>
                    <a:lnTo>
                      <a:pt x="12588" y="228874"/>
                    </a:lnTo>
                    <a:cubicBezTo>
                      <a:pt x="-4196" y="212090"/>
                      <a:pt x="-4196" y="184927"/>
                      <a:pt x="12588" y="168143"/>
                    </a:cubicBezTo>
                    <a:cubicBezTo>
                      <a:pt x="29372" y="151359"/>
                      <a:pt x="56535" y="151359"/>
                      <a:pt x="73319" y="168143"/>
                    </a:cubicBezTo>
                    <a:lnTo>
                      <a:pt x="218079" y="312903"/>
                    </a:lnTo>
                    <a:lnTo>
                      <a:pt x="478153" y="14697"/>
                    </a:lnTo>
                    <a:cubicBezTo>
                      <a:pt x="493833" y="-3191"/>
                      <a:pt x="520923" y="-4958"/>
                      <a:pt x="538737" y="10538"/>
                    </a:cubicBezTo>
                    <a:lnTo>
                      <a:pt x="538737" y="10538"/>
                    </a:lnTo>
                    <a:close/>
                  </a:path>
                </a:pathLst>
              </a:custGeom>
              <a:solidFill>
                <a:schemeClr val="accent2"/>
              </a:solidFill>
              <a:ln w="36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</p:grpSp>
      </p:grpSp>
      <p:grpSp>
        <p:nvGrpSpPr>
          <p:cNvPr id="378" name="Group 377">
            <a:extLst>
              <a:ext uri="{FF2B5EF4-FFF2-40B4-BE49-F238E27FC236}">
                <a16:creationId xmlns:a16="http://schemas.microsoft.com/office/drawing/2014/main" id="{A49B1337-32DD-3FF2-54EF-3D676CC1DEAD}"/>
              </a:ext>
            </a:extLst>
          </p:cNvPr>
          <p:cNvGrpSpPr/>
          <p:nvPr/>
        </p:nvGrpSpPr>
        <p:grpSpPr>
          <a:xfrm>
            <a:off x="8248412" y="4906138"/>
            <a:ext cx="1125965" cy="678897"/>
            <a:chOff x="9506130" y="4740416"/>
            <a:chExt cx="1125965" cy="678897"/>
          </a:xfrm>
        </p:grpSpPr>
        <p:sp>
          <p:nvSpPr>
            <p:cNvPr id="327" name="TextBox 326">
              <a:extLst>
                <a:ext uri="{FF2B5EF4-FFF2-40B4-BE49-F238E27FC236}">
                  <a16:creationId xmlns:a16="http://schemas.microsoft.com/office/drawing/2014/main" id="{07CA29AF-400E-850C-0A48-F794BA28CF54}"/>
                </a:ext>
              </a:extLst>
            </p:cNvPr>
            <p:cNvSpPr txBox="1"/>
            <p:nvPr/>
          </p:nvSpPr>
          <p:spPr>
            <a:xfrm>
              <a:off x="9506130" y="5250036"/>
              <a:ext cx="112596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1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 Configs</a:t>
              </a:r>
              <a:endParaRPr lang="en-GB" sz="11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342" name="Group 341">
              <a:extLst>
                <a:ext uri="{FF2B5EF4-FFF2-40B4-BE49-F238E27FC236}">
                  <a16:creationId xmlns:a16="http://schemas.microsoft.com/office/drawing/2014/main" id="{678C4F8C-4EF6-D6AC-CFC4-FDE9CD6F0943}"/>
                </a:ext>
              </a:extLst>
            </p:cNvPr>
            <p:cNvGrpSpPr/>
            <p:nvPr/>
          </p:nvGrpSpPr>
          <p:grpSpPr>
            <a:xfrm>
              <a:off x="9818311" y="4740416"/>
              <a:ext cx="501602" cy="442810"/>
              <a:chOff x="3724765" y="5281756"/>
              <a:chExt cx="249017" cy="219827"/>
            </a:xfrm>
          </p:grpSpPr>
          <p:sp>
            <p:nvSpPr>
              <p:cNvPr id="343" name="Freeform: Shape 342">
                <a:extLst>
                  <a:ext uri="{FF2B5EF4-FFF2-40B4-BE49-F238E27FC236}">
                    <a16:creationId xmlns:a16="http://schemas.microsoft.com/office/drawing/2014/main" id="{9D5CA66C-FCA5-B8F1-B2F1-A140D50C3EBE}"/>
                  </a:ext>
                </a:extLst>
              </p:cNvPr>
              <p:cNvSpPr/>
              <p:nvPr/>
            </p:nvSpPr>
            <p:spPr>
              <a:xfrm rot="3600000">
                <a:off x="3727087" y="5279434"/>
                <a:ext cx="174708" cy="179351"/>
              </a:xfrm>
              <a:custGeom>
                <a:avLst/>
                <a:gdLst>
                  <a:gd name="connsiteX0" fmla="*/ 3453992 w 3879197"/>
                  <a:gd name="connsiteY0" fmla="*/ 3024004 h 3876977"/>
                  <a:gd name="connsiteX1" fmla="*/ 3273208 w 3879197"/>
                  <a:gd name="connsiteY1" fmla="*/ 2963616 h 3876977"/>
                  <a:gd name="connsiteX2" fmla="*/ 3178624 w 3879197"/>
                  <a:gd name="connsiteY2" fmla="*/ 2986761 h 3876977"/>
                  <a:gd name="connsiteX3" fmla="*/ 3114807 w 3879197"/>
                  <a:gd name="connsiteY3" fmla="*/ 3057246 h 3876977"/>
                  <a:gd name="connsiteX4" fmla="*/ 3096519 w 3879197"/>
                  <a:gd name="connsiteY4" fmla="*/ 3176880 h 3876977"/>
                  <a:gd name="connsiteX5" fmla="*/ 3151478 w 3879197"/>
                  <a:gd name="connsiteY5" fmla="*/ 3287656 h 3876977"/>
                  <a:gd name="connsiteX6" fmla="*/ 3094804 w 3879197"/>
                  <a:gd name="connsiteY6" fmla="*/ 3496444 h 3876977"/>
                  <a:gd name="connsiteX7" fmla="*/ 2878587 w 3879197"/>
                  <a:gd name="connsiteY7" fmla="*/ 3635414 h 3876977"/>
                  <a:gd name="connsiteX8" fmla="*/ 2672180 w 3879197"/>
                  <a:gd name="connsiteY8" fmla="*/ 3602839 h 3876977"/>
                  <a:gd name="connsiteX9" fmla="*/ 2568643 w 3879197"/>
                  <a:gd name="connsiteY9" fmla="*/ 3478347 h 3876977"/>
                  <a:gd name="connsiteX10" fmla="*/ 2506159 w 3879197"/>
                  <a:gd name="connsiteY10" fmla="*/ 3459963 h 3876977"/>
                  <a:gd name="connsiteX11" fmla="*/ 2365761 w 3879197"/>
                  <a:gd name="connsiteY11" fmla="*/ 3505207 h 3876977"/>
                  <a:gd name="connsiteX12" fmla="*/ 2325756 w 3879197"/>
                  <a:gd name="connsiteY12" fmla="*/ 3556928 h 3876977"/>
                  <a:gd name="connsiteX13" fmla="*/ 2312992 w 3879197"/>
                  <a:gd name="connsiteY13" fmla="*/ 3723044 h 3876977"/>
                  <a:gd name="connsiteX14" fmla="*/ 2174308 w 3879197"/>
                  <a:gd name="connsiteY14" fmla="*/ 3863062 h 3876977"/>
                  <a:gd name="connsiteX15" fmla="*/ 1893797 w 3879197"/>
                  <a:gd name="connsiteY15" fmla="*/ 3876968 h 3876977"/>
                  <a:gd name="connsiteX16" fmla="*/ 1741778 w 3879197"/>
                  <a:gd name="connsiteY16" fmla="*/ 3745142 h 3876977"/>
                  <a:gd name="connsiteX17" fmla="*/ 1715299 w 3879197"/>
                  <a:gd name="connsiteY17" fmla="*/ 3590361 h 3876977"/>
                  <a:gd name="connsiteX18" fmla="*/ 1668245 w 3879197"/>
                  <a:gd name="connsiteY18" fmla="*/ 3539402 h 3876977"/>
                  <a:gd name="connsiteX19" fmla="*/ 1528704 w 3879197"/>
                  <a:gd name="connsiteY19" fmla="*/ 3509112 h 3876977"/>
                  <a:gd name="connsiteX20" fmla="*/ 1461171 w 3879197"/>
                  <a:gd name="connsiteY20" fmla="*/ 3538069 h 3876977"/>
                  <a:gd name="connsiteX21" fmla="*/ 1381447 w 3879197"/>
                  <a:gd name="connsiteY21" fmla="*/ 3656559 h 3876977"/>
                  <a:gd name="connsiteX22" fmla="*/ 1161991 w 3879197"/>
                  <a:gd name="connsiteY22" fmla="*/ 3715043 h 3876977"/>
                  <a:gd name="connsiteX23" fmla="*/ 946059 w 3879197"/>
                  <a:gd name="connsiteY23" fmla="*/ 3604077 h 3876977"/>
                  <a:gd name="connsiteX24" fmla="*/ 866716 w 3879197"/>
                  <a:gd name="connsiteY24" fmla="*/ 3398813 h 3876977"/>
                  <a:gd name="connsiteX25" fmla="*/ 921771 w 3879197"/>
                  <a:gd name="connsiteY25" fmla="*/ 3251842 h 3876977"/>
                  <a:gd name="connsiteX26" fmla="*/ 907674 w 3879197"/>
                  <a:gd name="connsiteY26" fmla="*/ 3192787 h 3876977"/>
                  <a:gd name="connsiteX27" fmla="*/ 904149 w 3879197"/>
                  <a:gd name="connsiteY27" fmla="*/ 3189644 h 3876977"/>
                  <a:gd name="connsiteX28" fmla="*/ 765465 w 3879197"/>
                  <a:gd name="connsiteY28" fmla="*/ 3078201 h 3876977"/>
                  <a:gd name="connsiteX29" fmla="*/ 606493 w 3879197"/>
                  <a:gd name="connsiteY29" fmla="*/ 3143924 h 3876977"/>
                  <a:gd name="connsiteX30" fmla="*/ 370083 w 3879197"/>
                  <a:gd name="connsiteY30" fmla="*/ 3076487 h 3876977"/>
                  <a:gd name="connsiteX31" fmla="*/ 248734 w 3879197"/>
                  <a:gd name="connsiteY31" fmla="*/ 2888559 h 3876977"/>
                  <a:gd name="connsiteX32" fmla="*/ 284072 w 3879197"/>
                  <a:gd name="connsiteY32" fmla="*/ 2663864 h 3876977"/>
                  <a:gd name="connsiteX33" fmla="*/ 397800 w 3879197"/>
                  <a:gd name="connsiteY33" fmla="*/ 2569757 h 3876977"/>
                  <a:gd name="connsiteX34" fmla="*/ 417803 w 3879197"/>
                  <a:gd name="connsiteY34" fmla="*/ 2503844 h 3876977"/>
                  <a:gd name="connsiteX35" fmla="*/ 374083 w 3879197"/>
                  <a:gd name="connsiteY35" fmla="*/ 2368017 h 3876977"/>
                  <a:gd name="connsiteX36" fmla="*/ 319791 w 3879197"/>
                  <a:gd name="connsiteY36" fmla="*/ 2325060 h 3876977"/>
                  <a:gd name="connsiteX37" fmla="*/ 182059 w 3879197"/>
                  <a:gd name="connsiteY37" fmla="*/ 2316011 h 3876977"/>
                  <a:gd name="connsiteX38" fmla="*/ 12419 w 3879197"/>
                  <a:gd name="connsiteY38" fmla="*/ 2148180 h 3876977"/>
                  <a:gd name="connsiteX39" fmla="*/ 132 w 3879197"/>
                  <a:gd name="connsiteY39" fmla="*/ 1910436 h 3876977"/>
                  <a:gd name="connsiteX40" fmla="*/ 139482 w 3879197"/>
                  <a:gd name="connsiteY40" fmla="*/ 1739653 h 3876977"/>
                  <a:gd name="connsiteX41" fmla="*/ 289596 w 3879197"/>
                  <a:gd name="connsiteY41" fmla="*/ 1714317 h 3876977"/>
                  <a:gd name="connsiteX42" fmla="*/ 339126 w 3879197"/>
                  <a:gd name="connsiteY42" fmla="*/ 1665644 h 3876977"/>
                  <a:gd name="connsiteX43" fmla="*/ 368463 w 3879197"/>
                  <a:gd name="connsiteY43" fmla="*/ 1530770 h 3876977"/>
                  <a:gd name="connsiteX44" fmla="*/ 338364 w 3879197"/>
                  <a:gd name="connsiteY44" fmla="*/ 1459237 h 3876977"/>
                  <a:gd name="connsiteX45" fmla="*/ 215873 w 3879197"/>
                  <a:gd name="connsiteY45" fmla="*/ 1376941 h 3876977"/>
                  <a:gd name="connsiteX46" fmla="*/ 159961 w 3879197"/>
                  <a:gd name="connsiteY46" fmla="*/ 1168058 h 3876977"/>
                  <a:gd name="connsiteX47" fmla="*/ 277214 w 3879197"/>
                  <a:gd name="connsiteY47" fmla="*/ 939363 h 3876977"/>
                  <a:gd name="connsiteX48" fmla="*/ 472000 w 3879197"/>
                  <a:gd name="connsiteY48" fmla="*/ 863639 h 3876977"/>
                  <a:gd name="connsiteX49" fmla="*/ 623733 w 3879197"/>
                  <a:gd name="connsiteY49" fmla="*/ 919741 h 3876977"/>
                  <a:gd name="connsiteX50" fmla="*/ 686884 w 3879197"/>
                  <a:gd name="connsiteY50" fmla="*/ 904882 h 3876977"/>
                  <a:gd name="connsiteX51" fmla="*/ 789087 w 3879197"/>
                  <a:gd name="connsiteY51" fmla="*/ 791820 h 3876977"/>
                  <a:gd name="connsiteX52" fmla="*/ 796707 w 3879197"/>
                  <a:gd name="connsiteY52" fmla="*/ 731337 h 3876977"/>
                  <a:gd name="connsiteX53" fmla="*/ 727746 w 3879197"/>
                  <a:gd name="connsiteY53" fmla="*/ 590271 h 3876977"/>
                  <a:gd name="connsiteX54" fmla="*/ 787849 w 3879197"/>
                  <a:gd name="connsiteY54" fmla="*/ 378340 h 3876977"/>
                  <a:gd name="connsiteX55" fmla="*/ 991970 w 3879197"/>
                  <a:gd name="connsiteY55" fmla="*/ 246895 h 3876977"/>
                  <a:gd name="connsiteX56" fmla="*/ 1212950 w 3879197"/>
                  <a:gd name="connsiteY56" fmla="*/ 281757 h 3876977"/>
                  <a:gd name="connsiteX57" fmla="*/ 1310200 w 3879197"/>
                  <a:gd name="connsiteY57" fmla="*/ 399009 h 3876977"/>
                  <a:gd name="connsiteX58" fmla="*/ 1372494 w 3879197"/>
                  <a:gd name="connsiteY58" fmla="*/ 417297 h 3876977"/>
                  <a:gd name="connsiteX59" fmla="*/ 1512892 w 3879197"/>
                  <a:gd name="connsiteY59" fmla="*/ 372244 h 3876977"/>
                  <a:gd name="connsiteX60" fmla="*/ 1553088 w 3879197"/>
                  <a:gd name="connsiteY60" fmla="*/ 320619 h 3876977"/>
                  <a:gd name="connsiteX61" fmla="*/ 1563565 w 3879197"/>
                  <a:gd name="connsiteY61" fmla="*/ 168600 h 3876977"/>
                  <a:gd name="connsiteX62" fmla="*/ 1727871 w 3879197"/>
                  <a:gd name="connsiteY62" fmla="*/ 11913 h 3876977"/>
                  <a:gd name="connsiteX63" fmla="*/ 1960948 w 3879197"/>
                  <a:gd name="connsiteY63" fmla="*/ 293 h 3876977"/>
                  <a:gd name="connsiteX64" fmla="*/ 2139733 w 3879197"/>
                  <a:gd name="connsiteY64" fmla="*/ 145835 h 3876977"/>
                  <a:gd name="connsiteX65" fmla="*/ 2164402 w 3879197"/>
                  <a:gd name="connsiteY65" fmla="*/ 291282 h 3876977"/>
                  <a:gd name="connsiteX66" fmla="*/ 2210503 w 3879197"/>
                  <a:gd name="connsiteY66" fmla="*/ 337383 h 3876977"/>
                  <a:gd name="connsiteX67" fmla="*/ 2349949 w 3879197"/>
                  <a:gd name="connsiteY67" fmla="*/ 367863 h 3876977"/>
                  <a:gd name="connsiteX68" fmla="*/ 2417291 w 3879197"/>
                  <a:gd name="connsiteY68" fmla="*/ 339478 h 3876977"/>
                  <a:gd name="connsiteX69" fmla="*/ 2499777 w 3879197"/>
                  <a:gd name="connsiteY69" fmla="*/ 217082 h 3876977"/>
                  <a:gd name="connsiteX70" fmla="*/ 2712185 w 3879197"/>
                  <a:gd name="connsiteY70" fmla="*/ 159741 h 3876977"/>
                  <a:gd name="connsiteX71" fmla="*/ 2936403 w 3879197"/>
                  <a:gd name="connsiteY71" fmla="*/ 275184 h 3876977"/>
                  <a:gd name="connsiteX72" fmla="*/ 3013651 w 3879197"/>
                  <a:gd name="connsiteY72" fmla="*/ 473209 h 3876977"/>
                  <a:gd name="connsiteX73" fmla="*/ 2958787 w 3879197"/>
                  <a:gd name="connsiteY73" fmla="*/ 620370 h 3876977"/>
                  <a:gd name="connsiteX74" fmla="*/ 2974313 w 3879197"/>
                  <a:gd name="connsiteY74" fmla="*/ 687617 h 3876977"/>
                  <a:gd name="connsiteX75" fmla="*/ 3083946 w 3879197"/>
                  <a:gd name="connsiteY75" fmla="*/ 786486 h 3876977"/>
                  <a:gd name="connsiteX76" fmla="*/ 3148620 w 3879197"/>
                  <a:gd name="connsiteY76" fmla="*/ 794868 h 3876977"/>
                  <a:gd name="connsiteX77" fmla="*/ 3290067 w 3879197"/>
                  <a:gd name="connsiteY77" fmla="*/ 726574 h 3876977"/>
                  <a:gd name="connsiteX78" fmla="*/ 3498378 w 3879197"/>
                  <a:gd name="connsiteY78" fmla="*/ 784772 h 3876977"/>
                  <a:gd name="connsiteX79" fmla="*/ 3632491 w 3879197"/>
                  <a:gd name="connsiteY79" fmla="*/ 992893 h 3876977"/>
                  <a:gd name="connsiteX80" fmla="*/ 3598296 w 3879197"/>
                  <a:gd name="connsiteY80" fmla="*/ 1210349 h 3876977"/>
                  <a:gd name="connsiteX81" fmla="*/ 3480948 w 3879197"/>
                  <a:gd name="connsiteY81" fmla="*/ 1307504 h 3876977"/>
                  <a:gd name="connsiteX82" fmla="*/ 3461517 w 3879197"/>
                  <a:gd name="connsiteY82" fmla="*/ 1373607 h 3876977"/>
                  <a:gd name="connsiteX83" fmla="*/ 3504856 w 3879197"/>
                  <a:gd name="connsiteY83" fmla="*/ 1509624 h 3876977"/>
                  <a:gd name="connsiteX84" fmla="*/ 3559339 w 3879197"/>
                  <a:gd name="connsiteY84" fmla="*/ 1552963 h 3876977"/>
                  <a:gd name="connsiteX85" fmla="*/ 3716025 w 3879197"/>
                  <a:gd name="connsiteY85" fmla="*/ 1564298 h 3876977"/>
                  <a:gd name="connsiteX86" fmla="*/ 3865662 w 3879197"/>
                  <a:gd name="connsiteY86" fmla="*/ 1719460 h 3876977"/>
                  <a:gd name="connsiteX87" fmla="*/ 3878998 w 3879197"/>
                  <a:gd name="connsiteY87" fmla="*/ 1966634 h 3876977"/>
                  <a:gd name="connsiteX88" fmla="*/ 3744219 w 3879197"/>
                  <a:gd name="connsiteY88" fmla="*/ 2136465 h 3876977"/>
                  <a:gd name="connsiteX89" fmla="*/ 3589533 w 3879197"/>
                  <a:gd name="connsiteY89" fmla="*/ 2163230 h 3876977"/>
                  <a:gd name="connsiteX90" fmla="*/ 3541146 w 3879197"/>
                  <a:gd name="connsiteY90" fmla="*/ 2206950 h 3876977"/>
                  <a:gd name="connsiteX91" fmla="*/ 3509904 w 3879197"/>
                  <a:gd name="connsiteY91" fmla="*/ 2351158 h 3876977"/>
                  <a:gd name="connsiteX92" fmla="*/ 3536669 w 3879197"/>
                  <a:gd name="connsiteY92" fmla="*/ 2414976 h 3876977"/>
                  <a:gd name="connsiteX93" fmla="*/ 3662970 w 3879197"/>
                  <a:gd name="connsiteY93" fmla="*/ 2500129 h 3876977"/>
                  <a:gd name="connsiteX94" fmla="*/ 3719073 w 3879197"/>
                  <a:gd name="connsiteY94" fmla="*/ 2709108 h 3876977"/>
                  <a:gd name="connsiteX95" fmla="*/ 3604201 w 3879197"/>
                  <a:gd name="connsiteY95" fmla="*/ 2933707 h 3876977"/>
                  <a:gd name="connsiteX96" fmla="*/ 3453897 w 3879197"/>
                  <a:gd name="connsiteY96" fmla="*/ 3023623 h 3876977"/>
                  <a:gd name="connsiteX97" fmla="*/ 951774 w 3879197"/>
                  <a:gd name="connsiteY97" fmla="*/ 758769 h 3876977"/>
                  <a:gd name="connsiteX98" fmla="*/ 903864 w 3879197"/>
                  <a:gd name="connsiteY98" fmla="*/ 884594 h 3876977"/>
                  <a:gd name="connsiteX99" fmla="*/ 792040 w 3879197"/>
                  <a:gd name="connsiteY99" fmla="*/ 1008228 h 3876977"/>
                  <a:gd name="connsiteX100" fmla="*/ 580109 w 3879197"/>
                  <a:gd name="connsiteY100" fmla="*/ 1060330 h 3876977"/>
                  <a:gd name="connsiteX101" fmla="*/ 446283 w 3879197"/>
                  <a:gd name="connsiteY101" fmla="*/ 1010800 h 3876977"/>
                  <a:gd name="connsiteX102" fmla="*/ 396943 w 3879197"/>
                  <a:gd name="connsiteY102" fmla="*/ 1027088 h 3876977"/>
                  <a:gd name="connsiteX103" fmla="*/ 299312 w 3879197"/>
                  <a:gd name="connsiteY103" fmla="*/ 1217683 h 3876977"/>
                  <a:gd name="connsiteX104" fmla="*/ 311313 w 3879197"/>
                  <a:gd name="connsiteY104" fmla="*/ 1264451 h 3876977"/>
                  <a:gd name="connsiteX105" fmla="*/ 437520 w 3879197"/>
                  <a:gd name="connsiteY105" fmla="*/ 1349700 h 3876977"/>
                  <a:gd name="connsiteX106" fmla="*/ 515053 w 3879197"/>
                  <a:gd name="connsiteY106" fmla="*/ 1544772 h 3876977"/>
                  <a:gd name="connsiteX107" fmla="*/ 481239 w 3879197"/>
                  <a:gd name="connsiteY107" fmla="*/ 1702982 h 3876977"/>
                  <a:gd name="connsiteX108" fmla="*/ 312933 w 3879197"/>
                  <a:gd name="connsiteY108" fmla="*/ 1859954 h 3876977"/>
                  <a:gd name="connsiteX109" fmla="*/ 181488 w 3879197"/>
                  <a:gd name="connsiteY109" fmla="*/ 1881576 h 3876977"/>
                  <a:gd name="connsiteX110" fmla="*/ 147960 w 3879197"/>
                  <a:gd name="connsiteY110" fmla="*/ 1922152 h 3876977"/>
                  <a:gd name="connsiteX111" fmla="*/ 158437 w 3879197"/>
                  <a:gd name="connsiteY111" fmla="*/ 2136179 h 3876977"/>
                  <a:gd name="connsiteX112" fmla="*/ 194251 w 3879197"/>
                  <a:gd name="connsiteY112" fmla="*/ 2168850 h 3876977"/>
                  <a:gd name="connsiteX113" fmla="*/ 341412 w 3879197"/>
                  <a:gd name="connsiteY113" fmla="*/ 2179041 h 3876977"/>
                  <a:gd name="connsiteX114" fmla="*/ 511338 w 3879197"/>
                  <a:gd name="connsiteY114" fmla="*/ 2315916 h 3876977"/>
                  <a:gd name="connsiteX115" fmla="*/ 560487 w 3879197"/>
                  <a:gd name="connsiteY115" fmla="*/ 2470030 h 3876977"/>
                  <a:gd name="connsiteX116" fmla="*/ 500956 w 3879197"/>
                  <a:gd name="connsiteY116" fmla="*/ 2675580 h 3876977"/>
                  <a:gd name="connsiteX117" fmla="*/ 387323 w 3879197"/>
                  <a:gd name="connsiteY117" fmla="*/ 2769782 h 3876977"/>
                  <a:gd name="connsiteX118" fmla="*/ 377226 w 3879197"/>
                  <a:gd name="connsiteY118" fmla="*/ 2816835 h 3876977"/>
                  <a:gd name="connsiteX119" fmla="*/ 496098 w 3879197"/>
                  <a:gd name="connsiteY119" fmla="*/ 3000668 h 3876977"/>
                  <a:gd name="connsiteX120" fmla="*/ 543057 w 3879197"/>
                  <a:gd name="connsiteY120" fmla="*/ 3010955 h 3876977"/>
                  <a:gd name="connsiteX121" fmla="*/ 680026 w 3879197"/>
                  <a:gd name="connsiteY121" fmla="*/ 2944470 h 3876977"/>
                  <a:gd name="connsiteX122" fmla="*/ 884052 w 3879197"/>
                  <a:gd name="connsiteY122" fmla="*/ 2973712 h 3876977"/>
                  <a:gd name="connsiteX123" fmla="*/ 1014449 w 3879197"/>
                  <a:gd name="connsiteY123" fmla="*/ 3092108 h 3876977"/>
                  <a:gd name="connsiteX124" fmla="*/ 1063026 w 3879197"/>
                  <a:gd name="connsiteY124" fmla="*/ 3292324 h 3876977"/>
                  <a:gd name="connsiteX125" fmla="*/ 1011782 w 3879197"/>
                  <a:gd name="connsiteY125" fmla="*/ 3430626 h 3876977"/>
                  <a:gd name="connsiteX126" fmla="*/ 1030927 w 3879197"/>
                  <a:gd name="connsiteY126" fmla="*/ 3483109 h 3876977"/>
                  <a:gd name="connsiteX127" fmla="*/ 1212759 w 3879197"/>
                  <a:gd name="connsiteY127" fmla="*/ 3576930 h 3876977"/>
                  <a:gd name="connsiteX128" fmla="*/ 1269909 w 3879197"/>
                  <a:gd name="connsiteY128" fmla="*/ 3560357 h 3876977"/>
                  <a:gd name="connsiteX129" fmla="*/ 1352205 w 3879197"/>
                  <a:gd name="connsiteY129" fmla="*/ 3437866 h 3876977"/>
                  <a:gd name="connsiteX130" fmla="*/ 1530132 w 3879197"/>
                  <a:gd name="connsiteY130" fmla="*/ 3360808 h 3876977"/>
                  <a:gd name="connsiteX131" fmla="*/ 1725300 w 3879197"/>
                  <a:gd name="connsiteY131" fmla="*/ 3403480 h 3876977"/>
                  <a:gd name="connsiteX132" fmla="*/ 1855221 w 3879197"/>
                  <a:gd name="connsiteY132" fmla="*/ 3541116 h 3876977"/>
                  <a:gd name="connsiteX133" fmla="*/ 1880462 w 3879197"/>
                  <a:gd name="connsiteY133" fmla="*/ 3686372 h 3876977"/>
                  <a:gd name="connsiteX134" fmla="*/ 1931230 w 3879197"/>
                  <a:gd name="connsiteY134" fmla="*/ 3730283 h 3876977"/>
                  <a:gd name="connsiteX135" fmla="*/ 2130874 w 3879197"/>
                  <a:gd name="connsiteY135" fmla="*/ 3720377 h 3876977"/>
                  <a:gd name="connsiteX136" fmla="*/ 2170117 w 3879197"/>
                  <a:gd name="connsiteY136" fmla="*/ 3680658 h 3876977"/>
                  <a:gd name="connsiteX137" fmla="*/ 2179261 w 3879197"/>
                  <a:gd name="connsiteY137" fmla="*/ 3547688 h 3876977"/>
                  <a:gd name="connsiteX138" fmla="*/ 2315564 w 3879197"/>
                  <a:gd name="connsiteY138" fmla="*/ 3367285 h 3876977"/>
                  <a:gd name="connsiteX139" fmla="*/ 2469774 w 3879197"/>
                  <a:gd name="connsiteY139" fmla="*/ 3318422 h 3876977"/>
                  <a:gd name="connsiteX140" fmla="*/ 2675609 w 3879197"/>
                  <a:gd name="connsiteY140" fmla="*/ 3377096 h 3876977"/>
                  <a:gd name="connsiteX141" fmla="*/ 2769526 w 3879197"/>
                  <a:gd name="connsiteY141" fmla="*/ 3490920 h 3876977"/>
                  <a:gd name="connsiteX142" fmla="*/ 2821056 w 3879197"/>
                  <a:gd name="connsiteY142" fmla="*/ 3499111 h 3876977"/>
                  <a:gd name="connsiteX143" fmla="*/ 2997078 w 3879197"/>
                  <a:gd name="connsiteY143" fmla="*/ 3385668 h 3876977"/>
                  <a:gd name="connsiteX144" fmla="*/ 3009651 w 3879197"/>
                  <a:gd name="connsiteY144" fmla="*/ 3331471 h 3876977"/>
                  <a:gd name="connsiteX145" fmla="*/ 2944976 w 3879197"/>
                  <a:gd name="connsiteY145" fmla="*/ 3198883 h 3876977"/>
                  <a:gd name="connsiteX146" fmla="*/ 2974218 w 3879197"/>
                  <a:gd name="connsiteY146" fmla="*/ 2994762 h 3876977"/>
                  <a:gd name="connsiteX147" fmla="*/ 3089089 w 3879197"/>
                  <a:gd name="connsiteY147" fmla="*/ 2867508 h 3876977"/>
                  <a:gd name="connsiteX148" fmla="*/ 3297210 w 3879197"/>
                  <a:gd name="connsiteY148" fmla="*/ 2816835 h 3876977"/>
                  <a:gd name="connsiteX149" fmla="*/ 3430942 w 3879197"/>
                  <a:gd name="connsiteY149" fmla="*/ 2866746 h 3876977"/>
                  <a:gd name="connsiteX150" fmla="*/ 3483805 w 3879197"/>
                  <a:gd name="connsiteY150" fmla="*/ 2848173 h 3876977"/>
                  <a:gd name="connsiteX151" fmla="*/ 3579246 w 3879197"/>
                  <a:gd name="connsiteY151" fmla="*/ 2661864 h 3876977"/>
                  <a:gd name="connsiteX152" fmla="*/ 3565530 w 3879197"/>
                  <a:gd name="connsiteY152" fmla="*/ 2611858 h 3876977"/>
                  <a:gd name="connsiteX153" fmla="*/ 3446848 w 3879197"/>
                  <a:gd name="connsiteY153" fmla="*/ 2532419 h 3876977"/>
                  <a:gd name="connsiteX154" fmla="*/ 3364457 w 3879197"/>
                  <a:gd name="connsiteY154" fmla="*/ 2330203 h 3876977"/>
                  <a:gd name="connsiteX155" fmla="*/ 3400747 w 3879197"/>
                  <a:gd name="connsiteY155" fmla="*/ 2162849 h 3876977"/>
                  <a:gd name="connsiteX156" fmla="*/ 3545908 w 3879197"/>
                  <a:gd name="connsiteY156" fmla="*/ 2022641 h 3876977"/>
                  <a:gd name="connsiteX157" fmla="*/ 3696022 w 3879197"/>
                  <a:gd name="connsiteY157" fmla="*/ 1997114 h 3876977"/>
                  <a:gd name="connsiteX158" fmla="*/ 3731455 w 3879197"/>
                  <a:gd name="connsiteY158" fmla="*/ 1953108 h 3876977"/>
                  <a:gd name="connsiteX159" fmla="*/ 3721264 w 3879197"/>
                  <a:gd name="connsiteY159" fmla="*/ 1743939 h 3876977"/>
                  <a:gd name="connsiteX160" fmla="*/ 3682020 w 3879197"/>
                  <a:gd name="connsiteY160" fmla="*/ 1708697 h 3876977"/>
                  <a:gd name="connsiteX161" fmla="*/ 3534764 w 3879197"/>
                  <a:gd name="connsiteY161" fmla="*/ 1698600 h 3876977"/>
                  <a:gd name="connsiteX162" fmla="*/ 3371410 w 3879197"/>
                  <a:gd name="connsiteY162" fmla="*/ 1573156 h 3876977"/>
                  <a:gd name="connsiteX163" fmla="*/ 3318927 w 3879197"/>
                  <a:gd name="connsiteY163" fmla="*/ 1410183 h 3876977"/>
                  <a:gd name="connsiteX164" fmla="*/ 3380459 w 3879197"/>
                  <a:gd name="connsiteY164" fmla="*/ 1200729 h 3876977"/>
                  <a:gd name="connsiteX165" fmla="*/ 3490568 w 3879197"/>
                  <a:gd name="connsiteY165" fmla="*/ 1109860 h 3876977"/>
                  <a:gd name="connsiteX166" fmla="*/ 3500474 w 3879197"/>
                  <a:gd name="connsiteY166" fmla="*/ 1058997 h 3876977"/>
                  <a:gd name="connsiteX167" fmla="*/ 3386650 w 3879197"/>
                  <a:gd name="connsiteY167" fmla="*/ 883165 h 3876977"/>
                  <a:gd name="connsiteX168" fmla="*/ 3332262 w 3879197"/>
                  <a:gd name="connsiteY168" fmla="*/ 868687 h 3876977"/>
                  <a:gd name="connsiteX169" fmla="*/ 3199865 w 3879197"/>
                  <a:gd name="connsiteY169" fmla="*/ 933743 h 3876977"/>
                  <a:gd name="connsiteX170" fmla="*/ 2995744 w 3879197"/>
                  <a:gd name="connsiteY170" fmla="*/ 905073 h 3876977"/>
                  <a:gd name="connsiteX171" fmla="*/ 2864966 w 3879197"/>
                  <a:gd name="connsiteY171" fmla="*/ 787058 h 3876977"/>
                  <a:gd name="connsiteX172" fmla="*/ 2815817 w 3879197"/>
                  <a:gd name="connsiteY172" fmla="*/ 586842 h 3876977"/>
                  <a:gd name="connsiteX173" fmla="*/ 2868205 w 3879197"/>
                  <a:gd name="connsiteY173" fmla="*/ 443872 h 3876977"/>
                  <a:gd name="connsiteX174" fmla="*/ 2853250 w 3879197"/>
                  <a:gd name="connsiteY174" fmla="*/ 397866 h 3876977"/>
                  <a:gd name="connsiteX175" fmla="*/ 2658464 w 3879197"/>
                  <a:gd name="connsiteY175" fmla="*/ 297949 h 3876977"/>
                  <a:gd name="connsiteX176" fmla="*/ 2615411 w 3879197"/>
                  <a:gd name="connsiteY176" fmla="*/ 308808 h 3876977"/>
                  <a:gd name="connsiteX177" fmla="*/ 2532829 w 3879197"/>
                  <a:gd name="connsiteY177" fmla="*/ 431109 h 3876977"/>
                  <a:gd name="connsiteX178" fmla="*/ 2326708 w 3879197"/>
                  <a:gd name="connsiteY178" fmla="*/ 513690 h 3876977"/>
                  <a:gd name="connsiteX179" fmla="*/ 2173356 w 3879197"/>
                  <a:gd name="connsiteY179" fmla="*/ 480162 h 3876977"/>
                  <a:gd name="connsiteX180" fmla="*/ 2019527 w 3879197"/>
                  <a:gd name="connsiteY180" fmla="*/ 320047 h 3876977"/>
                  <a:gd name="connsiteX181" fmla="*/ 1998191 w 3879197"/>
                  <a:gd name="connsiteY181" fmla="*/ 188602 h 3876977"/>
                  <a:gd name="connsiteX182" fmla="*/ 1950185 w 3879197"/>
                  <a:gd name="connsiteY182" fmla="*/ 147073 h 3876977"/>
                  <a:gd name="connsiteX183" fmla="*/ 1750446 w 3879197"/>
                  <a:gd name="connsiteY183" fmla="*/ 156788 h 3876977"/>
                  <a:gd name="connsiteX184" fmla="*/ 1708917 w 3879197"/>
                  <a:gd name="connsiteY184" fmla="*/ 199937 h 3876977"/>
                  <a:gd name="connsiteX185" fmla="*/ 1699773 w 3879197"/>
                  <a:gd name="connsiteY185" fmla="*/ 337668 h 3876977"/>
                  <a:gd name="connsiteX186" fmla="*/ 1565565 w 3879197"/>
                  <a:gd name="connsiteY186" fmla="*/ 509785 h 3876977"/>
                  <a:gd name="connsiteX187" fmla="*/ 1411546 w 3879197"/>
                  <a:gd name="connsiteY187" fmla="*/ 559410 h 3876977"/>
                  <a:gd name="connsiteX188" fmla="*/ 1201710 w 3879197"/>
                  <a:gd name="connsiteY188" fmla="*/ 499689 h 3876977"/>
                  <a:gd name="connsiteX189" fmla="*/ 1113985 w 3879197"/>
                  <a:gd name="connsiteY189" fmla="*/ 393104 h 3876977"/>
                  <a:gd name="connsiteX190" fmla="*/ 1052358 w 3879197"/>
                  <a:gd name="connsiteY190" fmla="*/ 382626 h 3876977"/>
                  <a:gd name="connsiteX191" fmla="*/ 924819 w 3879197"/>
                  <a:gd name="connsiteY191" fmla="*/ 465780 h 3876977"/>
                  <a:gd name="connsiteX192" fmla="*/ 890719 w 3879197"/>
                  <a:gd name="connsiteY192" fmla="*/ 591224 h 3876977"/>
                  <a:gd name="connsiteX193" fmla="*/ 951679 w 3879197"/>
                  <a:gd name="connsiteY193" fmla="*/ 759245 h 3876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</a:cxnLst>
                <a:rect l="l" t="t" r="r" b="b"/>
                <a:pathLst>
                  <a:path w="3879197" h="3876977">
                    <a:moveTo>
                      <a:pt x="3453992" y="3024004"/>
                    </a:moveTo>
                    <a:cubicBezTo>
                      <a:pt x="3392175" y="3016670"/>
                      <a:pt x="3333310" y="2987142"/>
                      <a:pt x="3273208" y="2963616"/>
                    </a:cubicBezTo>
                    <a:cubicBezTo>
                      <a:pt x="3232726" y="2947709"/>
                      <a:pt x="3204723" y="2951233"/>
                      <a:pt x="3178624" y="2986761"/>
                    </a:cubicBezTo>
                    <a:cubicBezTo>
                      <a:pt x="3159955" y="3012193"/>
                      <a:pt x="3138810" y="3036863"/>
                      <a:pt x="3114807" y="3057246"/>
                    </a:cubicBezTo>
                    <a:cubicBezTo>
                      <a:pt x="3072706" y="3093060"/>
                      <a:pt x="3066039" y="3129351"/>
                      <a:pt x="3096519" y="3176880"/>
                    </a:cubicBezTo>
                    <a:cubicBezTo>
                      <a:pt x="3118617" y="3211361"/>
                      <a:pt x="3134238" y="3250128"/>
                      <a:pt x="3151478" y="3287656"/>
                    </a:cubicBezTo>
                    <a:cubicBezTo>
                      <a:pt x="3188721" y="3368619"/>
                      <a:pt x="3167956" y="3447486"/>
                      <a:pt x="3094804" y="3496444"/>
                    </a:cubicBezTo>
                    <a:cubicBezTo>
                      <a:pt x="3023652" y="3544164"/>
                      <a:pt x="2951643" y="3590646"/>
                      <a:pt x="2878587" y="3635414"/>
                    </a:cubicBezTo>
                    <a:cubicBezTo>
                      <a:pt x="2807721" y="3678848"/>
                      <a:pt x="2727234" y="3665608"/>
                      <a:pt x="2672180" y="3602839"/>
                    </a:cubicBezTo>
                    <a:cubicBezTo>
                      <a:pt x="2636652" y="3562262"/>
                      <a:pt x="2602457" y="3520447"/>
                      <a:pt x="2568643" y="3478347"/>
                    </a:cubicBezTo>
                    <a:cubicBezTo>
                      <a:pt x="2551498" y="3456916"/>
                      <a:pt x="2532543" y="3450724"/>
                      <a:pt x="2506159" y="3459963"/>
                    </a:cubicBezTo>
                    <a:cubicBezTo>
                      <a:pt x="2459773" y="3476251"/>
                      <a:pt x="2412909" y="3491396"/>
                      <a:pt x="2365761" y="3505207"/>
                    </a:cubicBezTo>
                    <a:cubicBezTo>
                      <a:pt x="2338614" y="3513113"/>
                      <a:pt x="2327470" y="3530067"/>
                      <a:pt x="2325756" y="3556928"/>
                    </a:cubicBezTo>
                    <a:cubicBezTo>
                      <a:pt x="2322136" y="3612364"/>
                      <a:pt x="2318993" y="3667894"/>
                      <a:pt x="2312992" y="3723044"/>
                    </a:cubicBezTo>
                    <a:cubicBezTo>
                      <a:pt x="2304610" y="3800292"/>
                      <a:pt x="2251842" y="3856108"/>
                      <a:pt x="2174308" y="3863062"/>
                    </a:cubicBezTo>
                    <a:cubicBezTo>
                      <a:pt x="2081154" y="3871348"/>
                      <a:pt x="1987428" y="3875920"/>
                      <a:pt x="1893797" y="3876968"/>
                    </a:cubicBezTo>
                    <a:cubicBezTo>
                      <a:pt x="1816073" y="3877825"/>
                      <a:pt x="1756542" y="3823152"/>
                      <a:pt x="1741778" y="3745142"/>
                    </a:cubicBezTo>
                    <a:cubicBezTo>
                      <a:pt x="1732062" y="3693707"/>
                      <a:pt x="1722347" y="3642177"/>
                      <a:pt x="1715299" y="3590361"/>
                    </a:cubicBezTo>
                    <a:cubicBezTo>
                      <a:pt x="1711203" y="3560643"/>
                      <a:pt x="1697201" y="3545117"/>
                      <a:pt x="1668245" y="3539402"/>
                    </a:cubicBezTo>
                    <a:cubicBezTo>
                      <a:pt x="1621572" y="3530258"/>
                      <a:pt x="1574900" y="3520447"/>
                      <a:pt x="1528704" y="3509112"/>
                    </a:cubicBezTo>
                    <a:cubicBezTo>
                      <a:pt x="1497747" y="3501492"/>
                      <a:pt x="1477745" y="3511398"/>
                      <a:pt x="1461171" y="3538069"/>
                    </a:cubicBezTo>
                    <a:cubicBezTo>
                      <a:pt x="1436025" y="3578455"/>
                      <a:pt x="1408498" y="3617412"/>
                      <a:pt x="1381447" y="3656559"/>
                    </a:cubicBezTo>
                    <a:cubicBezTo>
                      <a:pt x="1325821" y="3737141"/>
                      <a:pt x="1248288" y="3758191"/>
                      <a:pt x="1161991" y="3715043"/>
                    </a:cubicBezTo>
                    <a:cubicBezTo>
                      <a:pt x="1089601" y="3678848"/>
                      <a:pt x="1017592" y="3641891"/>
                      <a:pt x="946059" y="3604077"/>
                    </a:cubicBezTo>
                    <a:cubicBezTo>
                      <a:pt x="865668" y="3561500"/>
                      <a:pt x="836427" y="3485395"/>
                      <a:pt x="866716" y="3398813"/>
                    </a:cubicBezTo>
                    <a:cubicBezTo>
                      <a:pt x="884052" y="3349474"/>
                      <a:pt x="902435" y="3300420"/>
                      <a:pt x="921771" y="3251842"/>
                    </a:cubicBezTo>
                    <a:cubicBezTo>
                      <a:pt x="931296" y="3227839"/>
                      <a:pt x="928057" y="3208789"/>
                      <a:pt x="907674" y="3192787"/>
                    </a:cubicBezTo>
                    <a:cubicBezTo>
                      <a:pt x="906435" y="3191835"/>
                      <a:pt x="905292" y="3190692"/>
                      <a:pt x="904149" y="3189644"/>
                    </a:cubicBezTo>
                    <a:cubicBezTo>
                      <a:pt x="857953" y="3151353"/>
                      <a:pt x="821949" y="3088584"/>
                      <a:pt x="765465" y="3078201"/>
                    </a:cubicBezTo>
                    <a:cubicBezTo>
                      <a:pt x="710316" y="3068105"/>
                      <a:pt x="659166" y="3119445"/>
                      <a:pt x="606493" y="3143924"/>
                    </a:cubicBezTo>
                    <a:cubicBezTo>
                      <a:pt x="505623" y="3190692"/>
                      <a:pt x="430947" y="3170403"/>
                      <a:pt x="370083" y="3076487"/>
                    </a:cubicBezTo>
                    <a:cubicBezTo>
                      <a:pt x="329506" y="3013908"/>
                      <a:pt x="288644" y="2951519"/>
                      <a:pt x="248734" y="2888559"/>
                    </a:cubicBezTo>
                    <a:cubicBezTo>
                      <a:pt x="197013" y="2807025"/>
                      <a:pt x="209872" y="2726729"/>
                      <a:pt x="284072" y="2663864"/>
                    </a:cubicBezTo>
                    <a:cubicBezTo>
                      <a:pt x="321600" y="2632050"/>
                      <a:pt x="359034" y="2600046"/>
                      <a:pt x="397800" y="2569757"/>
                    </a:cubicBezTo>
                    <a:cubicBezTo>
                      <a:pt x="420946" y="2551659"/>
                      <a:pt x="428185" y="2532419"/>
                      <a:pt x="417803" y="2503844"/>
                    </a:cubicBezTo>
                    <a:cubicBezTo>
                      <a:pt x="401515" y="2459172"/>
                      <a:pt x="387609" y="2413642"/>
                      <a:pt x="374083" y="2368017"/>
                    </a:cubicBezTo>
                    <a:cubicBezTo>
                      <a:pt x="365796" y="2340109"/>
                      <a:pt x="350366" y="2325917"/>
                      <a:pt x="319791" y="2325060"/>
                    </a:cubicBezTo>
                    <a:cubicBezTo>
                      <a:pt x="273785" y="2323821"/>
                      <a:pt x="227970" y="2319059"/>
                      <a:pt x="182059" y="2316011"/>
                    </a:cubicBezTo>
                    <a:cubicBezTo>
                      <a:pt x="76998" y="2309058"/>
                      <a:pt x="19563" y="2253241"/>
                      <a:pt x="12419" y="2148180"/>
                    </a:cubicBezTo>
                    <a:cubicBezTo>
                      <a:pt x="6990" y="2069027"/>
                      <a:pt x="2894" y="1989684"/>
                      <a:pt x="132" y="1910436"/>
                    </a:cubicBezTo>
                    <a:cubicBezTo>
                      <a:pt x="-3012" y="1820616"/>
                      <a:pt x="50328" y="1756036"/>
                      <a:pt x="139482" y="1739653"/>
                    </a:cubicBezTo>
                    <a:cubicBezTo>
                      <a:pt x="189393" y="1730509"/>
                      <a:pt x="239400" y="1721556"/>
                      <a:pt x="289596" y="1714317"/>
                    </a:cubicBezTo>
                    <a:cubicBezTo>
                      <a:pt x="319410" y="1710030"/>
                      <a:pt x="333697" y="1694219"/>
                      <a:pt x="339126" y="1665644"/>
                    </a:cubicBezTo>
                    <a:cubicBezTo>
                      <a:pt x="347794" y="1620495"/>
                      <a:pt x="357414" y="1575442"/>
                      <a:pt x="368463" y="1530770"/>
                    </a:cubicBezTo>
                    <a:cubicBezTo>
                      <a:pt x="376464" y="1498385"/>
                      <a:pt x="367225" y="1476858"/>
                      <a:pt x="338364" y="1459237"/>
                    </a:cubicBezTo>
                    <a:cubicBezTo>
                      <a:pt x="296359" y="1433710"/>
                      <a:pt x="256164" y="1405230"/>
                      <a:pt x="215873" y="1376941"/>
                    </a:cubicBezTo>
                    <a:cubicBezTo>
                      <a:pt x="143102" y="1325887"/>
                      <a:pt x="121290" y="1246830"/>
                      <a:pt x="159961" y="1168058"/>
                    </a:cubicBezTo>
                    <a:cubicBezTo>
                      <a:pt x="197680" y="1091191"/>
                      <a:pt x="236637" y="1014801"/>
                      <a:pt x="277214" y="939363"/>
                    </a:cubicBezTo>
                    <a:cubicBezTo>
                      <a:pt x="316457" y="866496"/>
                      <a:pt x="393228" y="837255"/>
                      <a:pt x="472000" y="863639"/>
                    </a:cubicBezTo>
                    <a:cubicBezTo>
                      <a:pt x="523149" y="880784"/>
                      <a:pt x="573822" y="899548"/>
                      <a:pt x="623733" y="919741"/>
                    </a:cubicBezTo>
                    <a:cubicBezTo>
                      <a:pt x="649832" y="930314"/>
                      <a:pt x="668691" y="925742"/>
                      <a:pt x="686884" y="904882"/>
                    </a:cubicBezTo>
                    <a:cubicBezTo>
                      <a:pt x="720222" y="866592"/>
                      <a:pt x="754416" y="828968"/>
                      <a:pt x="789087" y="791820"/>
                    </a:cubicBezTo>
                    <a:cubicBezTo>
                      <a:pt x="806709" y="772866"/>
                      <a:pt x="808423" y="754197"/>
                      <a:pt x="796707" y="731337"/>
                    </a:cubicBezTo>
                    <a:cubicBezTo>
                      <a:pt x="772800" y="684759"/>
                      <a:pt x="749844" y="637706"/>
                      <a:pt x="727746" y="590271"/>
                    </a:cubicBezTo>
                    <a:cubicBezTo>
                      <a:pt x="689646" y="508452"/>
                      <a:pt x="712221" y="428156"/>
                      <a:pt x="787849" y="378340"/>
                    </a:cubicBezTo>
                    <a:cubicBezTo>
                      <a:pt x="855381" y="333763"/>
                      <a:pt x="923390" y="289948"/>
                      <a:pt x="991970" y="246895"/>
                    </a:cubicBezTo>
                    <a:cubicBezTo>
                      <a:pt x="1071599" y="196984"/>
                      <a:pt x="1151418" y="209843"/>
                      <a:pt x="1212950" y="281757"/>
                    </a:cubicBezTo>
                    <a:cubicBezTo>
                      <a:pt x="1246002" y="320333"/>
                      <a:pt x="1278482" y="359385"/>
                      <a:pt x="1310200" y="399009"/>
                    </a:cubicBezTo>
                    <a:cubicBezTo>
                      <a:pt x="1327250" y="420345"/>
                      <a:pt x="1345728" y="426918"/>
                      <a:pt x="1372494" y="417297"/>
                    </a:cubicBezTo>
                    <a:cubicBezTo>
                      <a:pt x="1418785" y="400724"/>
                      <a:pt x="1465934" y="386722"/>
                      <a:pt x="1512892" y="372244"/>
                    </a:cubicBezTo>
                    <a:cubicBezTo>
                      <a:pt x="1538705" y="364243"/>
                      <a:pt x="1551849" y="348813"/>
                      <a:pt x="1553088" y="320619"/>
                    </a:cubicBezTo>
                    <a:cubicBezTo>
                      <a:pt x="1555278" y="269850"/>
                      <a:pt x="1558517" y="219177"/>
                      <a:pt x="1563565" y="168600"/>
                    </a:cubicBezTo>
                    <a:cubicBezTo>
                      <a:pt x="1573376" y="70397"/>
                      <a:pt x="1629574" y="17247"/>
                      <a:pt x="1727871" y="11913"/>
                    </a:cubicBezTo>
                    <a:cubicBezTo>
                      <a:pt x="1805500" y="7722"/>
                      <a:pt x="1883224" y="3912"/>
                      <a:pt x="1960948" y="293"/>
                    </a:cubicBezTo>
                    <a:cubicBezTo>
                      <a:pt x="2060103" y="-4374"/>
                      <a:pt x="2122778" y="46870"/>
                      <a:pt x="2139733" y="145835"/>
                    </a:cubicBezTo>
                    <a:cubicBezTo>
                      <a:pt x="2148019" y="194317"/>
                      <a:pt x="2157068" y="242609"/>
                      <a:pt x="2164402" y="291282"/>
                    </a:cubicBezTo>
                    <a:cubicBezTo>
                      <a:pt x="2168593" y="318999"/>
                      <a:pt x="2183643" y="332239"/>
                      <a:pt x="2210503" y="337383"/>
                    </a:cubicBezTo>
                    <a:cubicBezTo>
                      <a:pt x="2257271" y="346241"/>
                      <a:pt x="2304039" y="355671"/>
                      <a:pt x="2349949" y="367863"/>
                    </a:cubicBezTo>
                    <a:cubicBezTo>
                      <a:pt x="2381667" y="376245"/>
                      <a:pt x="2400717" y="365577"/>
                      <a:pt x="2417291" y="339478"/>
                    </a:cubicBezTo>
                    <a:cubicBezTo>
                      <a:pt x="2443580" y="297949"/>
                      <a:pt x="2471774" y="257563"/>
                      <a:pt x="2499777" y="217082"/>
                    </a:cubicBezTo>
                    <a:cubicBezTo>
                      <a:pt x="2552451" y="141263"/>
                      <a:pt x="2630460" y="119451"/>
                      <a:pt x="2712185" y="159741"/>
                    </a:cubicBezTo>
                    <a:cubicBezTo>
                      <a:pt x="2787623" y="196889"/>
                      <a:pt x="2862394" y="235465"/>
                      <a:pt x="2936403" y="275184"/>
                    </a:cubicBezTo>
                    <a:cubicBezTo>
                      <a:pt x="3012508" y="316047"/>
                      <a:pt x="3041559" y="391484"/>
                      <a:pt x="3013651" y="473209"/>
                    </a:cubicBezTo>
                    <a:cubicBezTo>
                      <a:pt x="2996792" y="522739"/>
                      <a:pt x="2978599" y="571888"/>
                      <a:pt x="2958787" y="620370"/>
                    </a:cubicBezTo>
                    <a:cubicBezTo>
                      <a:pt x="2947548" y="647898"/>
                      <a:pt x="2951739" y="668281"/>
                      <a:pt x="2974313" y="687617"/>
                    </a:cubicBezTo>
                    <a:cubicBezTo>
                      <a:pt x="3011651" y="719621"/>
                      <a:pt x="3048132" y="752768"/>
                      <a:pt x="3083946" y="786486"/>
                    </a:cubicBezTo>
                    <a:cubicBezTo>
                      <a:pt x="3104234" y="805632"/>
                      <a:pt x="3124046" y="807441"/>
                      <a:pt x="3148620" y="794868"/>
                    </a:cubicBezTo>
                    <a:cubicBezTo>
                      <a:pt x="3195198" y="771056"/>
                      <a:pt x="3242442" y="748196"/>
                      <a:pt x="3290067" y="726574"/>
                    </a:cubicBezTo>
                    <a:cubicBezTo>
                      <a:pt x="3370839" y="689808"/>
                      <a:pt x="3449801" y="711620"/>
                      <a:pt x="3498378" y="784772"/>
                    </a:cubicBezTo>
                    <a:cubicBezTo>
                      <a:pt x="3544003" y="853542"/>
                      <a:pt x="3588771" y="922884"/>
                      <a:pt x="3632491" y="992893"/>
                    </a:cubicBezTo>
                    <a:cubicBezTo>
                      <a:pt x="3680973" y="1070712"/>
                      <a:pt x="3668019" y="1150532"/>
                      <a:pt x="3598296" y="1210349"/>
                    </a:cubicBezTo>
                    <a:cubicBezTo>
                      <a:pt x="3559815" y="1243401"/>
                      <a:pt x="3520667" y="1275881"/>
                      <a:pt x="3480948" y="1307504"/>
                    </a:cubicBezTo>
                    <a:cubicBezTo>
                      <a:pt x="3458183" y="1325601"/>
                      <a:pt x="3450753" y="1344747"/>
                      <a:pt x="3461517" y="1373607"/>
                    </a:cubicBezTo>
                    <a:cubicBezTo>
                      <a:pt x="3478090" y="1418184"/>
                      <a:pt x="3491616" y="1463904"/>
                      <a:pt x="3504856" y="1509624"/>
                    </a:cubicBezTo>
                    <a:cubicBezTo>
                      <a:pt x="3513047" y="1538009"/>
                      <a:pt x="3530097" y="1551344"/>
                      <a:pt x="3559339" y="1552963"/>
                    </a:cubicBezTo>
                    <a:cubicBezTo>
                      <a:pt x="3611631" y="1555916"/>
                      <a:pt x="3663923" y="1559535"/>
                      <a:pt x="3716025" y="1564298"/>
                    </a:cubicBezTo>
                    <a:cubicBezTo>
                      <a:pt x="3804607" y="1572394"/>
                      <a:pt x="3860138" y="1630020"/>
                      <a:pt x="3865662" y="1719460"/>
                    </a:cubicBezTo>
                    <a:cubicBezTo>
                      <a:pt x="3870711" y="1801851"/>
                      <a:pt x="3875283" y="1884243"/>
                      <a:pt x="3878998" y="1966634"/>
                    </a:cubicBezTo>
                    <a:cubicBezTo>
                      <a:pt x="3882903" y="2053026"/>
                      <a:pt x="3829277" y="2120367"/>
                      <a:pt x="3744219" y="2136465"/>
                    </a:cubicBezTo>
                    <a:cubicBezTo>
                      <a:pt x="3692784" y="2146180"/>
                      <a:pt x="3641253" y="2155705"/>
                      <a:pt x="3589533" y="2163230"/>
                    </a:cubicBezTo>
                    <a:cubicBezTo>
                      <a:pt x="3562196" y="2167230"/>
                      <a:pt x="3546575" y="2179613"/>
                      <a:pt x="3541146" y="2206950"/>
                    </a:cubicBezTo>
                    <a:cubicBezTo>
                      <a:pt x="3531526" y="2255146"/>
                      <a:pt x="3521715" y="2303438"/>
                      <a:pt x="3509904" y="2351158"/>
                    </a:cubicBezTo>
                    <a:cubicBezTo>
                      <a:pt x="3502665" y="2380495"/>
                      <a:pt x="3511904" y="2399259"/>
                      <a:pt x="3536669" y="2414976"/>
                    </a:cubicBezTo>
                    <a:cubicBezTo>
                      <a:pt x="3579436" y="2442312"/>
                      <a:pt x="3621346" y="2471078"/>
                      <a:pt x="3662970" y="2500129"/>
                    </a:cubicBezTo>
                    <a:cubicBezTo>
                      <a:pt x="3735932" y="2550993"/>
                      <a:pt x="3757840" y="2630431"/>
                      <a:pt x="3719073" y="2709108"/>
                    </a:cubicBezTo>
                    <a:cubicBezTo>
                      <a:pt x="3681925" y="2784546"/>
                      <a:pt x="3642873" y="2859031"/>
                      <a:pt x="3604201" y="2933707"/>
                    </a:cubicBezTo>
                    <a:cubicBezTo>
                      <a:pt x="3573531" y="2992762"/>
                      <a:pt x="3523715" y="3021051"/>
                      <a:pt x="3453897" y="3023623"/>
                    </a:cubicBezTo>
                    <a:close/>
                    <a:moveTo>
                      <a:pt x="951774" y="758769"/>
                    </a:moveTo>
                    <a:cubicBezTo>
                      <a:pt x="951870" y="806870"/>
                      <a:pt x="936344" y="848875"/>
                      <a:pt x="903864" y="884594"/>
                    </a:cubicBezTo>
                    <a:cubicBezTo>
                      <a:pt x="866430" y="925647"/>
                      <a:pt x="829473" y="967176"/>
                      <a:pt x="792040" y="1008228"/>
                    </a:cubicBezTo>
                    <a:cubicBezTo>
                      <a:pt x="733080" y="1072808"/>
                      <a:pt x="661833" y="1088810"/>
                      <a:pt x="580109" y="1060330"/>
                    </a:cubicBezTo>
                    <a:cubicBezTo>
                      <a:pt x="535151" y="1044614"/>
                      <a:pt x="490193" y="1028898"/>
                      <a:pt x="446283" y="1010800"/>
                    </a:cubicBezTo>
                    <a:cubicBezTo>
                      <a:pt x="423137" y="1001275"/>
                      <a:pt x="409040" y="1002323"/>
                      <a:pt x="396943" y="1027088"/>
                    </a:cubicBezTo>
                    <a:cubicBezTo>
                      <a:pt x="365701" y="1091286"/>
                      <a:pt x="333221" y="1154818"/>
                      <a:pt x="299312" y="1217683"/>
                    </a:cubicBezTo>
                    <a:cubicBezTo>
                      <a:pt x="287596" y="1239400"/>
                      <a:pt x="291406" y="1251592"/>
                      <a:pt x="311313" y="1264451"/>
                    </a:cubicBezTo>
                    <a:cubicBezTo>
                      <a:pt x="353985" y="1291883"/>
                      <a:pt x="396181" y="1320267"/>
                      <a:pt x="437520" y="1349700"/>
                    </a:cubicBezTo>
                    <a:cubicBezTo>
                      <a:pt x="505052" y="1397801"/>
                      <a:pt x="531246" y="1463333"/>
                      <a:pt x="515053" y="1544772"/>
                    </a:cubicBezTo>
                    <a:cubicBezTo>
                      <a:pt x="504480" y="1597635"/>
                      <a:pt x="492860" y="1650309"/>
                      <a:pt x="481239" y="1702982"/>
                    </a:cubicBezTo>
                    <a:cubicBezTo>
                      <a:pt x="460951" y="1794327"/>
                      <a:pt x="406563" y="1844619"/>
                      <a:pt x="312933" y="1859954"/>
                    </a:cubicBezTo>
                    <a:cubicBezTo>
                      <a:pt x="269118" y="1867098"/>
                      <a:pt x="225398" y="1875289"/>
                      <a:pt x="181488" y="1881576"/>
                    </a:cubicBezTo>
                    <a:cubicBezTo>
                      <a:pt x="156627" y="1885100"/>
                      <a:pt x="146150" y="1895673"/>
                      <a:pt x="147960" y="1922152"/>
                    </a:cubicBezTo>
                    <a:cubicBezTo>
                      <a:pt x="152817" y="1993399"/>
                      <a:pt x="156246" y="2064741"/>
                      <a:pt x="158437" y="2136179"/>
                    </a:cubicBezTo>
                    <a:cubicBezTo>
                      <a:pt x="159199" y="2161992"/>
                      <a:pt x="171963" y="2167707"/>
                      <a:pt x="194251" y="2168850"/>
                    </a:cubicBezTo>
                    <a:cubicBezTo>
                      <a:pt x="243400" y="2171326"/>
                      <a:pt x="292549" y="2174374"/>
                      <a:pt x="341412" y="2179041"/>
                    </a:cubicBezTo>
                    <a:cubicBezTo>
                      <a:pt x="427709" y="2187328"/>
                      <a:pt x="484954" y="2232572"/>
                      <a:pt x="511338" y="2315916"/>
                    </a:cubicBezTo>
                    <a:cubicBezTo>
                      <a:pt x="527626" y="2367351"/>
                      <a:pt x="545057" y="2418405"/>
                      <a:pt x="560487" y="2470030"/>
                    </a:cubicBezTo>
                    <a:cubicBezTo>
                      <a:pt x="584776" y="2550993"/>
                      <a:pt x="566107" y="2620335"/>
                      <a:pt x="500956" y="2675580"/>
                    </a:cubicBezTo>
                    <a:cubicBezTo>
                      <a:pt x="463428" y="2707393"/>
                      <a:pt x="425804" y="2739111"/>
                      <a:pt x="387323" y="2769782"/>
                    </a:cubicBezTo>
                    <a:cubicBezTo>
                      <a:pt x="369987" y="2783593"/>
                      <a:pt x="362558" y="2795118"/>
                      <a:pt x="377226" y="2816835"/>
                    </a:cubicBezTo>
                    <a:cubicBezTo>
                      <a:pt x="418089" y="2877319"/>
                      <a:pt x="457713" y="2938660"/>
                      <a:pt x="496098" y="3000668"/>
                    </a:cubicBezTo>
                    <a:cubicBezTo>
                      <a:pt x="509719" y="3022671"/>
                      <a:pt x="523149" y="3021242"/>
                      <a:pt x="543057" y="3010955"/>
                    </a:cubicBezTo>
                    <a:cubicBezTo>
                      <a:pt x="588205" y="2987809"/>
                      <a:pt x="633639" y="2964949"/>
                      <a:pt x="680026" y="2944470"/>
                    </a:cubicBezTo>
                    <a:cubicBezTo>
                      <a:pt x="753559" y="2911895"/>
                      <a:pt x="822806" y="2920753"/>
                      <a:pt x="884052" y="2973712"/>
                    </a:cubicBezTo>
                    <a:cubicBezTo>
                      <a:pt x="928533" y="3012098"/>
                      <a:pt x="972063" y="3051532"/>
                      <a:pt x="1014449" y="3092108"/>
                    </a:cubicBezTo>
                    <a:cubicBezTo>
                      <a:pt x="1072647" y="3148020"/>
                      <a:pt x="1089220" y="3215647"/>
                      <a:pt x="1063026" y="3292324"/>
                    </a:cubicBezTo>
                    <a:cubicBezTo>
                      <a:pt x="1047120" y="3338805"/>
                      <a:pt x="1030546" y="3385192"/>
                      <a:pt x="1011782" y="3430626"/>
                    </a:cubicBezTo>
                    <a:cubicBezTo>
                      <a:pt x="1001304" y="3456153"/>
                      <a:pt x="1004733" y="3470441"/>
                      <a:pt x="1030927" y="3483109"/>
                    </a:cubicBezTo>
                    <a:cubicBezTo>
                      <a:pt x="1092363" y="3512637"/>
                      <a:pt x="1153228" y="3543593"/>
                      <a:pt x="1212759" y="3576930"/>
                    </a:cubicBezTo>
                    <a:cubicBezTo>
                      <a:pt x="1240763" y="3592647"/>
                      <a:pt x="1254765" y="3584646"/>
                      <a:pt x="1269909" y="3560357"/>
                    </a:cubicBezTo>
                    <a:cubicBezTo>
                      <a:pt x="1296008" y="3518637"/>
                      <a:pt x="1323535" y="3477870"/>
                      <a:pt x="1352205" y="3437866"/>
                    </a:cubicBezTo>
                    <a:cubicBezTo>
                      <a:pt x="1395830" y="3377001"/>
                      <a:pt x="1456695" y="3349474"/>
                      <a:pt x="1530132" y="3360808"/>
                    </a:cubicBezTo>
                    <a:cubicBezTo>
                      <a:pt x="1595855" y="3370905"/>
                      <a:pt x="1661006" y="3386335"/>
                      <a:pt x="1725300" y="3403480"/>
                    </a:cubicBezTo>
                    <a:cubicBezTo>
                      <a:pt x="1795594" y="3422149"/>
                      <a:pt x="1839790" y="3469679"/>
                      <a:pt x="1855221" y="3541116"/>
                    </a:cubicBezTo>
                    <a:cubicBezTo>
                      <a:pt x="1865603" y="3589123"/>
                      <a:pt x="1874937" y="3637604"/>
                      <a:pt x="1880462" y="3686372"/>
                    </a:cubicBezTo>
                    <a:cubicBezTo>
                      <a:pt x="1884272" y="3719901"/>
                      <a:pt x="1895607" y="3733331"/>
                      <a:pt x="1931230" y="3730283"/>
                    </a:cubicBezTo>
                    <a:cubicBezTo>
                      <a:pt x="1997620" y="3724568"/>
                      <a:pt x="2064295" y="3721806"/>
                      <a:pt x="2130874" y="3720377"/>
                    </a:cubicBezTo>
                    <a:cubicBezTo>
                      <a:pt x="2159830" y="3719805"/>
                      <a:pt x="2169355" y="3708375"/>
                      <a:pt x="2170117" y="3680658"/>
                    </a:cubicBezTo>
                    <a:cubicBezTo>
                      <a:pt x="2171451" y="3636271"/>
                      <a:pt x="2176975" y="3592075"/>
                      <a:pt x="2179261" y="3547688"/>
                    </a:cubicBezTo>
                    <a:cubicBezTo>
                      <a:pt x="2184024" y="3457296"/>
                      <a:pt x="2229458" y="3396051"/>
                      <a:pt x="2315564" y="3367285"/>
                    </a:cubicBezTo>
                    <a:cubicBezTo>
                      <a:pt x="2366713" y="3350235"/>
                      <a:pt x="2418148" y="3334138"/>
                      <a:pt x="2469774" y="3318422"/>
                    </a:cubicBezTo>
                    <a:cubicBezTo>
                      <a:pt x="2550832" y="3293657"/>
                      <a:pt x="2620078" y="3312421"/>
                      <a:pt x="2675609" y="3377096"/>
                    </a:cubicBezTo>
                    <a:cubicBezTo>
                      <a:pt x="2707613" y="3414434"/>
                      <a:pt x="2739426" y="3452058"/>
                      <a:pt x="2769526" y="3490920"/>
                    </a:cubicBezTo>
                    <a:cubicBezTo>
                      <a:pt x="2785432" y="3511398"/>
                      <a:pt x="2799243" y="3513875"/>
                      <a:pt x="2821056" y="3499111"/>
                    </a:cubicBezTo>
                    <a:cubicBezTo>
                      <a:pt x="2878873" y="3460059"/>
                      <a:pt x="2937356" y="3421768"/>
                      <a:pt x="2997078" y="3385668"/>
                    </a:cubicBezTo>
                    <a:cubicBezTo>
                      <a:pt x="3022891" y="3370048"/>
                      <a:pt x="3022033" y="3354998"/>
                      <a:pt x="3009651" y="3331471"/>
                    </a:cubicBezTo>
                    <a:cubicBezTo>
                      <a:pt x="2986695" y="3288037"/>
                      <a:pt x="2965074" y="3243746"/>
                      <a:pt x="2944976" y="3198883"/>
                    </a:cubicBezTo>
                    <a:cubicBezTo>
                      <a:pt x="2911924" y="3125160"/>
                      <a:pt x="2921830" y="3056103"/>
                      <a:pt x="2974218" y="2994762"/>
                    </a:cubicBezTo>
                    <a:cubicBezTo>
                      <a:pt x="3011270" y="2951328"/>
                      <a:pt x="3050227" y="2909418"/>
                      <a:pt x="3089089" y="2867508"/>
                    </a:cubicBezTo>
                    <a:cubicBezTo>
                      <a:pt x="3147097" y="2805024"/>
                      <a:pt x="3217296" y="2789023"/>
                      <a:pt x="3297210" y="2816835"/>
                    </a:cubicBezTo>
                    <a:cubicBezTo>
                      <a:pt x="3342168" y="2832457"/>
                      <a:pt x="3386936" y="2848649"/>
                      <a:pt x="3430942" y="2866746"/>
                    </a:cubicBezTo>
                    <a:cubicBezTo>
                      <a:pt x="3455897" y="2877033"/>
                      <a:pt x="3471042" y="2874652"/>
                      <a:pt x="3483805" y="2848173"/>
                    </a:cubicBezTo>
                    <a:cubicBezTo>
                      <a:pt x="3514095" y="2785308"/>
                      <a:pt x="3546003" y="2723205"/>
                      <a:pt x="3579246" y="2661864"/>
                    </a:cubicBezTo>
                    <a:cubicBezTo>
                      <a:pt x="3592009" y="2638337"/>
                      <a:pt x="3587247" y="2625383"/>
                      <a:pt x="3565530" y="2611858"/>
                    </a:cubicBezTo>
                    <a:cubicBezTo>
                      <a:pt x="3525239" y="2586616"/>
                      <a:pt x="3486472" y="2558803"/>
                      <a:pt x="3446848" y="2532419"/>
                    </a:cubicBezTo>
                    <a:cubicBezTo>
                      <a:pt x="3373696" y="2483556"/>
                      <a:pt x="3348741" y="2414595"/>
                      <a:pt x="3364457" y="2330203"/>
                    </a:cubicBezTo>
                    <a:cubicBezTo>
                      <a:pt x="3374934" y="2274101"/>
                      <a:pt x="3386841" y="2218189"/>
                      <a:pt x="3400747" y="2162849"/>
                    </a:cubicBezTo>
                    <a:cubicBezTo>
                      <a:pt x="3419892" y="2086744"/>
                      <a:pt x="3468089" y="2038262"/>
                      <a:pt x="3545908" y="2022641"/>
                    </a:cubicBezTo>
                    <a:cubicBezTo>
                      <a:pt x="3595629" y="2012640"/>
                      <a:pt x="3645730" y="2003591"/>
                      <a:pt x="3696022" y="1997114"/>
                    </a:cubicBezTo>
                    <a:cubicBezTo>
                      <a:pt x="3724597" y="1993399"/>
                      <a:pt x="3733170" y="1980255"/>
                      <a:pt x="3731455" y="1953108"/>
                    </a:cubicBezTo>
                    <a:cubicBezTo>
                      <a:pt x="3726978" y="1883385"/>
                      <a:pt x="3723454" y="1813662"/>
                      <a:pt x="3721264" y="1743939"/>
                    </a:cubicBezTo>
                    <a:cubicBezTo>
                      <a:pt x="3720406" y="1716126"/>
                      <a:pt x="3706309" y="1709744"/>
                      <a:pt x="3682020" y="1708697"/>
                    </a:cubicBezTo>
                    <a:cubicBezTo>
                      <a:pt x="3632872" y="1706506"/>
                      <a:pt x="3583818" y="1702982"/>
                      <a:pt x="3534764" y="1698600"/>
                    </a:cubicBezTo>
                    <a:cubicBezTo>
                      <a:pt x="3454183" y="1691361"/>
                      <a:pt x="3398747" y="1649166"/>
                      <a:pt x="3371410" y="1573156"/>
                    </a:cubicBezTo>
                    <a:cubicBezTo>
                      <a:pt x="3352075" y="1519435"/>
                      <a:pt x="3335310" y="1464857"/>
                      <a:pt x="3318927" y="1410183"/>
                    </a:cubicBezTo>
                    <a:cubicBezTo>
                      <a:pt x="3294067" y="1327411"/>
                      <a:pt x="3313212" y="1256831"/>
                      <a:pt x="3380459" y="1200729"/>
                    </a:cubicBezTo>
                    <a:cubicBezTo>
                      <a:pt x="3417035" y="1170249"/>
                      <a:pt x="3453040" y="1139007"/>
                      <a:pt x="3490568" y="1109860"/>
                    </a:cubicBezTo>
                    <a:cubicBezTo>
                      <a:pt x="3510285" y="1094525"/>
                      <a:pt x="3515905" y="1081666"/>
                      <a:pt x="3500474" y="1058997"/>
                    </a:cubicBezTo>
                    <a:cubicBezTo>
                      <a:pt x="3461231" y="1001275"/>
                      <a:pt x="3423131" y="942696"/>
                      <a:pt x="3386650" y="883165"/>
                    </a:cubicBezTo>
                    <a:cubicBezTo>
                      <a:pt x="3371601" y="858686"/>
                      <a:pt x="3356551" y="855828"/>
                      <a:pt x="3332262" y="868687"/>
                    </a:cubicBezTo>
                    <a:cubicBezTo>
                      <a:pt x="3288828" y="891738"/>
                      <a:pt x="3244728" y="913550"/>
                      <a:pt x="3199865" y="933743"/>
                    </a:cubicBezTo>
                    <a:cubicBezTo>
                      <a:pt x="3126237" y="966985"/>
                      <a:pt x="3057181" y="957555"/>
                      <a:pt x="2995744" y="905073"/>
                    </a:cubicBezTo>
                    <a:cubicBezTo>
                      <a:pt x="2951072" y="866973"/>
                      <a:pt x="2907543" y="827444"/>
                      <a:pt x="2864966" y="787058"/>
                    </a:cubicBezTo>
                    <a:cubicBezTo>
                      <a:pt x="2806101" y="731241"/>
                      <a:pt x="2790671" y="663233"/>
                      <a:pt x="2815817" y="586842"/>
                    </a:cubicBezTo>
                    <a:cubicBezTo>
                      <a:pt x="2831724" y="538646"/>
                      <a:pt x="2849535" y="491021"/>
                      <a:pt x="2868205" y="443872"/>
                    </a:cubicBezTo>
                    <a:cubicBezTo>
                      <a:pt x="2876586" y="422631"/>
                      <a:pt x="2876015" y="409106"/>
                      <a:pt x="2853250" y="397866"/>
                    </a:cubicBezTo>
                    <a:cubicBezTo>
                      <a:pt x="2787814" y="365577"/>
                      <a:pt x="2722948" y="332144"/>
                      <a:pt x="2658464" y="297949"/>
                    </a:cubicBezTo>
                    <a:cubicBezTo>
                      <a:pt x="2639033" y="287662"/>
                      <a:pt x="2627317" y="290329"/>
                      <a:pt x="2615411" y="308808"/>
                    </a:cubicBezTo>
                    <a:cubicBezTo>
                      <a:pt x="2588741" y="350146"/>
                      <a:pt x="2560642" y="390532"/>
                      <a:pt x="2532829" y="431109"/>
                    </a:cubicBezTo>
                    <a:cubicBezTo>
                      <a:pt x="2482347" y="504927"/>
                      <a:pt x="2414529" y="532169"/>
                      <a:pt x="2326708" y="513690"/>
                    </a:cubicBezTo>
                    <a:cubicBezTo>
                      <a:pt x="2275464" y="502927"/>
                      <a:pt x="2224410" y="491497"/>
                      <a:pt x="2173356" y="480162"/>
                    </a:cubicBezTo>
                    <a:cubicBezTo>
                      <a:pt x="2086392" y="461017"/>
                      <a:pt x="2034957" y="407772"/>
                      <a:pt x="2019527" y="320047"/>
                    </a:cubicBezTo>
                    <a:cubicBezTo>
                      <a:pt x="2011812" y="276327"/>
                      <a:pt x="2003239" y="232608"/>
                      <a:pt x="1998191" y="188602"/>
                    </a:cubicBezTo>
                    <a:cubicBezTo>
                      <a:pt x="1994571" y="157836"/>
                      <a:pt x="1983999" y="144216"/>
                      <a:pt x="1950185" y="147073"/>
                    </a:cubicBezTo>
                    <a:cubicBezTo>
                      <a:pt x="1883796" y="152598"/>
                      <a:pt x="1817121" y="155455"/>
                      <a:pt x="1750446" y="156788"/>
                    </a:cubicBezTo>
                    <a:cubicBezTo>
                      <a:pt x="1719299" y="157455"/>
                      <a:pt x="1709583" y="170409"/>
                      <a:pt x="1708917" y="199937"/>
                    </a:cubicBezTo>
                    <a:cubicBezTo>
                      <a:pt x="1707869" y="245942"/>
                      <a:pt x="1703678" y="291853"/>
                      <a:pt x="1699773" y="337668"/>
                    </a:cubicBezTo>
                    <a:cubicBezTo>
                      <a:pt x="1692343" y="423870"/>
                      <a:pt x="1648814" y="482448"/>
                      <a:pt x="1565565" y="509785"/>
                    </a:cubicBezTo>
                    <a:cubicBezTo>
                      <a:pt x="1514321" y="526549"/>
                      <a:pt x="1462981" y="543218"/>
                      <a:pt x="1411546" y="559410"/>
                    </a:cubicBezTo>
                    <a:cubicBezTo>
                      <a:pt x="1328679" y="585414"/>
                      <a:pt x="1258289" y="565983"/>
                      <a:pt x="1201710" y="499689"/>
                    </a:cubicBezTo>
                    <a:cubicBezTo>
                      <a:pt x="1171897" y="464637"/>
                      <a:pt x="1141322" y="430061"/>
                      <a:pt x="1113985" y="393104"/>
                    </a:cubicBezTo>
                    <a:cubicBezTo>
                      <a:pt x="1095126" y="367672"/>
                      <a:pt x="1079409" y="362909"/>
                      <a:pt x="1052358" y="382626"/>
                    </a:cubicBezTo>
                    <a:cubicBezTo>
                      <a:pt x="1011401" y="412440"/>
                      <a:pt x="967491" y="438348"/>
                      <a:pt x="924819" y="465780"/>
                    </a:cubicBezTo>
                    <a:cubicBezTo>
                      <a:pt x="852333" y="512262"/>
                      <a:pt x="853667" y="511595"/>
                      <a:pt x="890719" y="591224"/>
                    </a:cubicBezTo>
                    <a:cubicBezTo>
                      <a:pt x="915865" y="645231"/>
                      <a:pt x="954060" y="695046"/>
                      <a:pt x="951679" y="759245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344" name="Freeform: Shape 343">
                <a:extLst>
                  <a:ext uri="{FF2B5EF4-FFF2-40B4-BE49-F238E27FC236}">
                    <a16:creationId xmlns:a16="http://schemas.microsoft.com/office/drawing/2014/main" id="{82A22F31-E7E5-01F7-F781-F6AC46DEF2B9}"/>
                  </a:ext>
                </a:extLst>
              </p:cNvPr>
              <p:cNvSpPr/>
              <p:nvPr/>
            </p:nvSpPr>
            <p:spPr>
              <a:xfrm rot="3600000">
                <a:off x="3836873" y="5385245"/>
                <a:ext cx="100267" cy="132410"/>
              </a:xfrm>
              <a:custGeom>
                <a:avLst/>
                <a:gdLst>
                  <a:gd name="connsiteX0" fmla="*/ 1243168 w 2226319"/>
                  <a:gd name="connsiteY0" fmla="*/ 272726 h 2862266"/>
                  <a:gd name="connsiteX1" fmla="*/ 1357278 w 2226319"/>
                  <a:gd name="connsiteY1" fmla="*/ 476371 h 2862266"/>
                  <a:gd name="connsiteX2" fmla="*/ 1549683 w 2226319"/>
                  <a:gd name="connsiteY2" fmla="*/ 471608 h 2862266"/>
                  <a:gd name="connsiteX3" fmla="*/ 1643409 w 2226319"/>
                  <a:gd name="connsiteY3" fmla="*/ 415315 h 2862266"/>
                  <a:gd name="connsiteX4" fmla="*/ 1844577 w 2226319"/>
                  <a:gd name="connsiteY4" fmla="*/ 456463 h 2862266"/>
                  <a:gd name="connsiteX5" fmla="*/ 1999072 w 2226319"/>
                  <a:gd name="connsiteY5" fmla="*/ 655822 h 2862266"/>
                  <a:gd name="connsiteX6" fmla="*/ 1984404 w 2226319"/>
                  <a:gd name="connsiteY6" fmla="*/ 875563 h 2862266"/>
                  <a:gd name="connsiteX7" fmla="*/ 1865817 w 2226319"/>
                  <a:gd name="connsiteY7" fmla="*/ 992626 h 2862266"/>
                  <a:gd name="connsiteX8" fmla="*/ 1847339 w 2226319"/>
                  <a:gd name="connsiteY8" fmla="*/ 1065587 h 2862266"/>
                  <a:gd name="connsiteX9" fmla="*/ 1886963 w 2226319"/>
                  <a:gd name="connsiteY9" fmla="*/ 1212558 h 2862266"/>
                  <a:gd name="connsiteX10" fmla="*/ 1943923 w 2226319"/>
                  <a:gd name="connsiteY10" fmla="*/ 1268374 h 2862266"/>
                  <a:gd name="connsiteX11" fmla="*/ 2096323 w 2226319"/>
                  <a:gd name="connsiteY11" fmla="*/ 1306284 h 2862266"/>
                  <a:gd name="connsiteX12" fmla="*/ 2224624 w 2226319"/>
                  <a:gd name="connsiteY12" fmla="*/ 1493736 h 2862266"/>
                  <a:gd name="connsiteX13" fmla="*/ 2193478 w 2226319"/>
                  <a:gd name="connsiteY13" fmla="*/ 1739290 h 2862266"/>
                  <a:gd name="connsiteX14" fmla="*/ 2041839 w 2226319"/>
                  <a:gd name="connsiteY14" fmla="*/ 1877117 h 2862266"/>
                  <a:gd name="connsiteX15" fmla="*/ 1870485 w 2226319"/>
                  <a:gd name="connsiteY15" fmla="*/ 1875974 h 2862266"/>
                  <a:gd name="connsiteX16" fmla="*/ 1794189 w 2226319"/>
                  <a:gd name="connsiteY16" fmla="*/ 1920646 h 2862266"/>
                  <a:gd name="connsiteX17" fmla="*/ 1723229 w 2226319"/>
                  <a:gd name="connsiteY17" fmla="*/ 2044567 h 2862266"/>
                  <a:gd name="connsiteX18" fmla="*/ 1725133 w 2226319"/>
                  <a:gd name="connsiteY18" fmla="*/ 2132673 h 2862266"/>
                  <a:gd name="connsiteX19" fmla="*/ 1805905 w 2226319"/>
                  <a:gd name="connsiteY19" fmla="*/ 2267356 h 2862266"/>
                  <a:gd name="connsiteX20" fmla="*/ 1764567 w 2226319"/>
                  <a:gd name="connsiteY20" fmla="*/ 2483479 h 2862266"/>
                  <a:gd name="connsiteX21" fmla="*/ 1568638 w 2226319"/>
                  <a:gd name="connsiteY21" fmla="*/ 2634831 h 2862266"/>
                  <a:gd name="connsiteX22" fmla="*/ 1352706 w 2226319"/>
                  <a:gd name="connsiteY22" fmla="*/ 2619972 h 2862266"/>
                  <a:gd name="connsiteX23" fmla="*/ 1239168 w 2226319"/>
                  <a:gd name="connsiteY23" fmla="*/ 2504529 h 2862266"/>
                  <a:gd name="connsiteX24" fmla="*/ 1158586 w 2226319"/>
                  <a:gd name="connsiteY24" fmla="*/ 2481859 h 2862266"/>
                  <a:gd name="connsiteX25" fmla="*/ 1016188 w 2226319"/>
                  <a:gd name="connsiteY25" fmla="*/ 2520150 h 2862266"/>
                  <a:gd name="connsiteX26" fmla="*/ 957228 w 2226319"/>
                  <a:gd name="connsiteY26" fmla="*/ 2580157 h 2862266"/>
                  <a:gd name="connsiteX27" fmla="*/ 916747 w 2226319"/>
                  <a:gd name="connsiteY27" fmla="*/ 2741701 h 2862266"/>
                  <a:gd name="connsiteX28" fmla="*/ 768442 w 2226319"/>
                  <a:gd name="connsiteY28" fmla="*/ 2862193 h 2862266"/>
                  <a:gd name="connsiteX29" fmla="*/ 680907 w 2226319"/>
                  <a:gd name="connsiteY29" fmla="*/ 2798947 h 2862266"/>
                  <a:gd name="connsiteX30" fmla="*/ 746154 w 2226319"/>
                  <a:gd name="connsiteY30" fmla="*/ 2715793 h 2862266"/>
                  <a:gd name="connsiteX31" fmla="*/ 781206 w 2226319"/>
                  <a:gd name="connsiteY31" fmla="*/ 2679027 h 2862266"/>
                  <a:gd name="connsiteX32" fmla="*/ 816829 w 2226319"/>
                  <a:gd name="connsiteY32" fmla="*/ 2535866 h 2862266"/>
                  <a:gd name="connsiteX33" fmla="*/ 968372 w 2226319"/>
                  <a:gd name="connsiteY33" fmla="*/ 2380894 h 2862266"/>
                  <a:gd name="connsiteX34" fmla="*/ 1133821 w 2226319"/>
                  <a:gd name="connsiteY34" fmla="*/ 2336698 h 2862266"/>
                  <a:gd name="connsiteX35" fmla="*/ 1334704 w 2226319"/>
                  <a:gd name="connsiteY35" fmla="*/ 2391943 h 2862266"/>
                  <a:gd name="connsiteX36" fmla="*/ 1444622 w 2226319"/>
                  <a:gd name="connsiteY36" fmla="*/ 2504243 h 2862266"/>
                  <a:gd name="connsiteX37" fmla="*/ 1492342 w 2226319"/>
                  <a:gd name="connsiteY37" fmla="*/ 2508339 h 2862266"/>
                  <a:gd name="connsiteX38" fmla="*/ 1661792 w 2226319"/>
                  <a:gd name="connsiteY38" fmla="*/ 2377275 h 2862266"/>
                  <a:gd name="connsiteX39" fmla="*/ 1669698 w 2226319"/>
                  <a:gd name="connsiteY39" fmla="*/ 2325840 h 2862266"/>
                  <a:gd name="connsiteX40" fmla="*/ 1589116 w 2226319"/>
                  <a:gd name="connsiteY40" fmla="*/ 2191061 h 2862266"/>
                  <a:gd name="connsiteX41" fmla="*/ 1587211 w 2226319"/>
                  <a:gd name="connsiteY41" fmla="*/ 1986845 h 2862266"/>
                  <a:gd name="connsiteX42" fmla="*/ 1677223 w 2226319"/>
                  <a:gd name="connsiteY42" fmla="*/ 1829968 h 2862266"/>
                  <a:gd name="connsiteX43" fmla="*/ 1850196 w 2226319"/>
                  <a:gd name="connsiteY43" fmla="*/ 1730432 h 2862266"/>
                  <a:gd name="connsiteX44" fmla="*/ 2012121 w 2226319"/>
                  <a:gd name="connsiteY44" fmla="*/ 1731766 h 2862266"/>
                  <a:gd name="connsiteX45" fmla="*/ 2051650 w 2226319"/>
                  <a:gd name="connsiteY45" fmla="*/ 1696904 h 2862266"/>
                  <a:gd name="connsiteX46" fmla="*/ 2078606 w 2226319"/>
                  <a:gd name="connsiteY46" fmla="*/ 1489259 h 2862266"/>
                  <a:gd name="connsiteX47" fmla="*/ 2048888 w 2226319"/>
                  <a:gd name="connsiteY47" fmla="*/ 1445920 h 2862266"/>
                  <a:gd name="connsiteX48" fmla="*/ 1901155 w 2226319"/>
                  <a:gd name="connsiteY48" fmla="*/ 1408963 h 2862266"/>
                  <a:gd name="connsiteX49" fmla="*/ 1747136 w 2226319"/>
                  <a:gd name="connsiteY49" fmla="*/ 1257230 h 2862266"/>
                  <a:gd name="connsiteX50" fmla="*/ 1704845 w 2226319"/>
                  <a:gd name="connsiteY50" fmla="*/ 1101115 h 2862266"/>
                  <a:gd name="connsiteX51" fmla="*/ 1762090 w 2226319"/>
                  <a:gd name="connsiteY51" fmla="*/ 887755 h 2862266"/>
                  <a:gd name="connsiteX52" fmla="*/ 1871151 w 2226319"/>
                  <a:gd name="connsiteY52" fmla="*/ 781361 h 2862266"/>
                  <a:gd name="connsiteX53" fmla="*/ 1873914 w 2226319"/>
                  <a:gd name="connsiteY53" fmla="*/ 733736 h 2862266"/>
                  <a:gd name="connsiteX54" fmla="*/ 1743040 w 2226319"/>
                  <a:gd name="connsiteY54" fmla="*/ 564191 h 2862266"/>
                  <a:gd name="connsiteX55" fmla="*/ 1691891 w 2226319"/>
                  <a:gd name="connsiteY55" fmla="*/ 556857 h 2862266"/>
                  <a:gd name="connsiteX56" fmla="*/ 1557017 w 2226319"/>
                  <a:gd name="connsiteY56" fmla="*/ 637438 h 2862266"/>
                  <a:gd name="connsiteX57" fmla="*/ 1352992 w 2226319"/>
                  <a:gd name="connsiteY57" fmla="*/ 639248 h 2862266"/>
                  <a:gd name="connsiteX58" fmla="*/ 1196020 w 2226319"/>
                  <a:gd name="connsiteY58" fmla="*/ 549427 h 2862266"/>
                  <a:gd name="connsiteX59" fmla="*/ 1096864 w 2226319"/>
                  <a:gd name="connsiteY59" fmla="*/ 376358 h 2862266"/>
                  <a:gd name="connsiteX60" fmla="*/ 1098007 w 2226319"/>
                  <a:gd name="connsiteY60" fmla="*/ 214433 h 2862266"/>
                  <a:gd name="connsiteX61" fmla="*/ 1067432 w 2226319"/>
                  <a:gd name="connsiteY61" fmla="*/ 176428 h 2862266"/>
                  <a:gd name="connsiteX62" fmla="*/ 855024 w 2226319"/>
                  <a:gd name="connsiteY62" fmla="*/ 149187 h 2862266"/>
                  <a:gd name="connsiteX63" fmla="*/ 811876 w 2226319"/>
                  <a:gd name="connsiteY63" fmla="*/ 179286 h 2862266"/>
                  <a:gd name="connsiteX64" fmla="*/ 774824 w 2226319"/>
                  <a:gd name="connsiteY64" fmla="*/ 326923 h 2862266"/>
                  <a:gd name="connsiteX65" fmla="*/ 626710 w 2226319"/>
                  <a:gd name="connsiteY65" fmla="*/ 479038 h 2862266"/>
                  <a:gd name="connsiteX66" fmla="*/ 456594 w 2226319"/>
                  <a:gd name="connsiteY66" fmla="*/ 524472 h 2862266"/>
                  <a:gd name="connsiteX67" fmla="*/ 263236 w 2226319"/>
                  <a:gd name="connsiteY67" fmla="*/ 473799 h 2862266"/>
                  <a:gd name="connsiteX68" fmla="*/ 186179 w 2226319"/>
                  <a:gd name="connsiteY68" fmla="*/ 395980 h 2862266"/>
                  <a:gd name="connsiteX69" fmla="*/ 76546 w 2226319"/>
                  <a:gd name="connsiteY69" fmla="*/ 351593 h 2862266"/>
                  <a:gd name="connsiteX70" fmla="*/ 5966 w 2226319"/>
                  <a:gd name="connsiteY70" fmla="*/ 308921 h 2862266"/>
                  <a:gd name="connsiteX71" fmla="*/ 28159 w 2226319"/>
                  <a:gd name="connsiteY71" fmla="*/ 223196 h 2862266"/>
                  <a:gd name="connsiteX72" fmla="*/ 233232 w 2226319"/>
                  <a:gd name="connsiteY72" fmla="*/ 234340 h 2862266"/>
                  <a:gd name="connsiteX73" fmla="*/ 353343 w 2226319"/>
                  <a:gd name="connsiteY73" fmla="*/ 356546 h 2862266"/>
                  <a:gd name="connsiteX74" fmla="*/ 434115 w 2226319"/>
                  <a:gd name="connsiteY74" fmla="*/ 378835 h 2862266"/>
                  <a:gd name="connsiteX75" fmla="*/ 576609 w 2226319"/>
                  <a:gd name="connsiteY75" fmla="*/ 341020 h 2862266"/>
                  <a:gd name="connsiteX76" fmla="*/ 635283 w 2226319"/>
                  <a:gd name="connsiteY76" fmla="*/ 281013 h 2862266"/>
                  <a:gd name="connsiteX77" fmla="*/ 676145 w 2226319"/>
                  <a:gd name="connsiteY77" fmla="*/ 119564 h 2862266"/>
                  <a:gd name="connsiteX78" fmla="*/ 838260 w 2226319"/>
                  <a:gd name="connsiteY78" fmla="*/ 597 h 2862266"/>
                  <a:gd name="connsiteX79" fmla="*/ 1121439 w 2226319"/>
                  <a:gd name="connsiteY79" fmla="*/ 36982 h 2862266"/>
                  <a:gd name="connsiteX80" fmla="*/ 1243168 w 2226319"/>
                  <a:gd name="connsiteY80" fmla="*/ 182239 h 2862266"/>
                  <a:gd name="connsiteX81" fmla="*/ 1243359 w 2226319"/>
                  <a:gd name="connsiteY81" fmla="*/ 272726 h 2862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2226319" h="2862266">
                    <a:moveTo>
                      <a:pt x="1243168" y="272726"/>
                    </a:moveTo>
                    <a:cubicBezTo>
                      <a:pt x="1212879" y="379311"/>
                      <a:pt x="1272124" y="427793"/>
                      <a:pt x="1357278" y="476371"/>
                    </a:cubicBezTo>
                    <a:cubicBezTo>
                      <a:pt x="1429668" y="517709"/>
                      <a:pt x="1485294" y="523329"/>
                      <a:pt x="1549683" y="471608"/>
                    </a:cubicBezTo>
                    <a:cubicBezTo>
                      <a:pt x="1577877" y="448939"/>
                      <a:pt x="1611214" y="432460"/>
                      <a:pt x="1643409" y="415315"/>
                    </a:cubicBezTo>
                    <a:cubicBezTo>
                      <a:pt x="1713989" y="377692"/>
                      <a:pt x="1795142" y="394170"/>
                      <a:pt x="1844577" y="456463"/>
                    </a:cubicBezTo>
                    <a:cubicBezTo>
                      <a:pt x="1896869" y="522281"/>
                      <a:pt x="1948494" y="588765"/>
                      <a:pt x="1999072" y="655822"/>
                    </a:cubicBezTo>
                    <a:cubicBezTo>
                      <a:pt x="2053746" y="728307"/>
                      <a:pt x="2048126" y="810412"/>
                      <a:pt x="1984404" y="875563"/>
                    </a:cubicBezTo>
                    <a:cubicBezTo>
                      <a:pt x="1945637" y="915282"/>
                      <a:pt x="1905918" y="954240"/>
                      <a:pt x="1865817" y="992626"/>
                    </a:cubicBezTo>
                    <a:cubicBezTo>
                      <a:pt x="1843815" y="1013676"/>
                      <a:pt x="1838195" y="1036060"/>
                      <a:pt x="1847339" y="1065587"/>
                    </a:cubicBezTo>
                    <a:cubicBezTo>
                      <a:pt x="1862389" y="1114069"/>
                      <a:pt x="1875152" y="1163218"/>
                      <a:pt x="1886963" y="1212558"/>
                    </a:cubicBezTo>
                    <a:cubicBezTo>
                      <a:pt x="1894583" y="1243990"/>
                      <a:pt x="1912204" y="1261326"/>
                      <a:pt x="1943923" y="1268374"/>
                    </a:cubicBezTo>
                    <a:cubicBezTo>
                      <a:pt x="1994976" y="1279709"/>
                      <a:pt x="2045650" y="1292949"/>
                      <a:pt x="2096323" y="1306284"/>
                    </a:cubicBezTo>
                    <a:cubicBezTo>
                      <a:pt x="2190144" y="1330954"/>
                      <a:pt x="2235959" y="1397629"/>
                      <a:pt x="2224624" y="1493736"/>
                    </a:cubicBezTo>
                    <a:cubicBezTo>
                      <a:pt x="2214909" y="1575651"/>
                      <a:pt x="2204717" y="1657566"/>
                      <a:pt x="2193478" y="1739290"/>
                    </a:cubicBezTo>
                    <a:cubicBezTo>
                      <a:pt x="2182524" y="1818824"/>
                      <a:pt x="2122230" y="1874450"/>
                      <a:pt x="2041839" y="1877117"/>
                    </a:cubicBezTo>
                    <a:cubicBezTo>
                      <a:pt x="1984785" y="1879022"/>
                      <a:pt x="1927539" y="1878165"/>
                      <a:pt x="1870485" y="1875974"/>
                    </a:cubicBezTo>
                    <a:cubicBezTo>
                      <a:pt x="1834099" y="1874641"/>
                      <a:pt x="1810858" y="1888833"/>
                      <a:pt x="1794189" y="1920646"/>
                    </a:cubicBezTo>
                    <a:cubicBezTo>
                      <a:pt x="1772092" y="1962747"/>
                      <a:pt x="1748565" y="2004276"/>
                      <a:pt x="1723229" y="2044567"/>
                    </a:cubicBezTo>
                    <a:cubicBezTo>
                      <a:pt x="1703702" y="2075523"/>
                      <a:pt x="1705417" y="2102384"/>
                      <a:pt x="1725133" y="2132673"/>
                    </a:cubicBezTo>
                    <a:cubicBezTo>
                      <a:pt x="1753708" y="2176488"/>
                      <a:pt x="1779997" y="2221922"/>
                      <a:pt x="1805905" y="2267356"/>
                    </a:cubicBezTo>
                    <a:cubicBezTo>
                      <a:pt x="1851149" y="2346795"/>
                      <a:pt x="1835909" y="2426900"/>
                      <a:pt x="1764567" y="2483479"/>
                    </a:cubicBezTo>
                    <a:cubicBezTo>
                      <a:pt x="1699892" y="2534723"/>
                      <a:pt x="1634741" y="2585396"/>
                      <a:pt x="1568638" y="2634831"/>
                    </a:cubicBezTo>
                    <a:cubicBezTo>
                      <a:pt x="1498248" y="2687409"/>
                      <a:pt x="1415380" y="2681313"/>
                      <a:pt x="1352706" y="2619972"/>
                    </a:cubicBezTo>
                    <a:cubicBezTo>
                      <a:pt x="1314130" y="2582253"/>
                      <a:pt x="1276030" y="2543962"/>
                      <a:pt x="1239168" y="2504529"/>
                    </a:cubicBezTo>
                    <a:cubicBezTo>
                      <a:pt x="1216117" y="2479859"/>
                      <a:pt x="1192209" y="2471096"/>
                      <a:pt x="1158586" y="2481859"/>
                    </a:cubicBezTo>
                    <a:cubicBezTo>
                      <a:pt x="1111818" y="2496909"/>
                      <a:pt x="1064098" y="2509387"/>
                      <a:pt x="1016188" y="2520150"/>
                    </a:cubicBezTo>
                    <a:cubicBezTo>
                      <a:pt x="982279" y="2527865"/>
                      <a:pt x="964848" y="2547201"/>
                      <a:pt x="957228" y="2580157"/>
                    </a:cubicBezTo>
                    <a:cubicBezTo>
                      <a:pt x="944845" y="2634259"/>
                      <a:pt x="931510" y="2688171"/>
                      <a:pt x="916747" y="2741701"/>
                    </a:cubicBezTo>
                    <a:cubicBezTo>
                      <a:pt x="897220" y="2812567"/>
                      <a:pt x="838165" y="2859716"/>
                      <a:pt x="768442" y="2862193"/>
                    </a:cubicBezTo>
                    <a:cubicBezTo>
                      <a:pt x="721579" y="2863812"/>
                      <a:pt x="686813" y="2838761"/>
                      <a:pt x="680907" y="2798947"/>
                    </a:cubicBezTo>
                    <a:cubicBezTo>
                      <a:pt x="674812" y="2757799"/>
                      <a:pt x="698243" y="2723794"/>
                      <a:pt x="746154" y="2715793"/>
                    </a:cubicBezTo>
                    <a:cubicBezTo>
                      <a:pt x="771395" y="2711602"/>
                      <a:pt x="776539" y="2698077"/>
                      <a:pt x="781206" y="2679027"/>
                    </a:cubicBezTo>
                    <a:cubicBezTo>
                      <a:pt x="792922" y="2631307"/>
                      <a:pt x="804923" y="2583586"/>
                      <a:pt x="816829" y="2535866"/>
                    </a:cubicBezTo>
                    <a:cubicBezTo>
                      <a:pt x="837117" y="2454618"/>
                      <a:pt x="887981" y="2403183"/>
                      <a:pt x="968372" y="2380894"/>
                    </a:cubicBezTo>
                    <a:cubicBezTo>
                      <a:pt x="1023426" y="2365654"/>
                      <a:pt x="1078386" y="2350129"/>
                      <a:pt x="1133821" y="2336698"/>
                    </a:cubicBezTo>
                    <a:cubicBezTo>
                      <a:pt x="1210498" y="2318125"/>
                      <a:pt x="1278411" y="2334508"/>
                      <a:pt x="1334704" y="2391943"/>
                    </a:cubicBezTo>
                    <a:cubicBezTo>
                      <a:pt x="1371375" y="2429377"/>
                      <a:pt x="1408903" y="2465953"/>
                      <a:pt x="1444622" y="2504243"/>
                    </a:cubicBezTo>
                    <a:cubicBezTo>
                      <a:pt x="1460815" y="2521674"/>
                      <a:pt x="1473197" y="2523769"/>
                      <a:pt x="1492342" y="2508339"/>
                    </a:cubicBezTo>
                    <a:cubicBezTo>
                      <a:pt x="1547968" y="2463571"/>
                      <a:pt x="1604356" y="2419661"/>
                      <a:pt x="1661792" y="2377275"/>
                    </a:cubicBezTo>
                    <a:cubicBezTo>
                      <a:pt x="1683890" y="2360987"/>
                      <a:pt x="1682937" y="2346700"/>
                      <a:pt x="1669698" y="2325840"/>
                    </a:cubicBezTo>
                    <a:cubicBezTo>
                      <a:pt x="1641790" y="2281549"/>
                      <a:pt x="1615024" y="2236495"/>
                      <a:pt x="1589116" y="2191061"/>
                    </a:cubicBezTo>
                    <a:cubicBezTo>
                      <a:pt x="1550635" y="2123624"/>
                      <a:pt x="1550254" y="2054854"/>
                      <a:pt x="1587211" y="1986845"/>
                    </a:cubicBezTo>
                    <a:cubicBezTo>
                      <a:pt x="1616072" y="1933886"/>
                      <a:pt x="1646171" y="1881594"/>
                      <a:pt x="1677223" y="1829968"/>
                    </a:cubicBezTo>
                    <a:cubicBezTo>
                      <a:pt x="1716180" y="1765198"/>
                      <a:pt x="1773996" y="1730908"/>
                      <a:pt x="1850196" y="1730432"/>
                    </a:cubicBezTo>
                    <a:cubicBezTo>
                      <a:pt x="1904204" y="1730051"/>
                      <a:pt x="1958210" y="1729956"/>
                      <a:pt x="2012121" y="1731766"/>
                    </a:cubicBezTo>
                    <a:cubicBezTo>
                      <a:pt x="2038410" y="1732623"/>
                      <a:pt x="2048793" y="1722336"/>
                      <a:pt x="2051650" y="1696904"/>
                    </a:cubicBezTo>
                    <a:cubicBezTo>
                      <a:pt x="2059461" y="1627562"/>
                      <a:pt x="2068319" y="1558220"/>
                      <a:pt x="2078606" y="1489259"/>
                    </a:cubicBezTo>
                    <a:cubicBezTo>
                      <a:pt x="2082511" y="1463256"/>
                      <a:pt x="2073844" y="1451540"/>
                      <a:pt x="2048888" y="1445920"/>
                    </a:cubicBezTo>
                    <a:cubicBezTo>
                      <a:pt x="1999358" y="1434681"/>
                      <a:pt x="1950495" y="1421060"/>
                      <a:pt x="1901155" y="1408963"/>
                    </a:cubicBezTo>
                    <a:cubicBezTo>
                      <a:pt x="1819621" y="1388866"/>
                      <a:pt x="1768758" y="1338002"/>
                      <a:pt x="1747136" y="1257230"/>
                    </a:cubicBezTo>
                    <a:cubicBezTo>
                      <a:pt x="1733134" y="1205128"/>
                      <a:pt x="1718656" y="1153217"/>
                      <a:pt x="1704845" y="1101115"/>
                    </a:cubicBezTo>
                    <a:cubicBezTo>
                      <a:pt x="1683033" y="1019105"/>
                      <a:pt x="1699797" y="947477"/>
                      <a:pt x="1762090" y="887755"/>
                    </a:cubicBezTo>
                    <a:cubicBezTo>
                      <a:pt x="1798762" y="852608"/>
                      <a:pt x="1833909" y="815842"/>
                      <a:pt x="1871151" y="781361"/>
                    </a:cubicBezTo>
                    <a:cubicBezTo>
                      <a:pt x="1889058" y="764788"/>
                      <a:pt x="1888963" y="752405"/>
                      <a:pt x="1873914" y="733736"/>
                    </a:cubicBezTo>
                    <a:cubicBezTo>
                      <a:pt x="1829146" y="678110"/>
                      <a:pt x="1785236" y="621722"/>
                      <a:pt x="1743040" y="564191"/>
                    </a:cubicBezTo>
                    <a:cubicBezTo>
                      <a:pt x="1726467" y="541617"/>
                      <a:pt x="1712751" y="543617"/>
                      <a:pt x="1691891" y="556857"/>
                    </a:cubicBezTo>
                    <a:cubicBezTo>
                      <a:pt x="1647695" y="584956"/>
                      <a:pt x="1602356" y="611244"/>
                      <a:pt x="1557017" y="637438"/>
                    </a:cubicBezTo>
                    <a:cubicBezTo>
                      <a:pt x="1489580" y="676491"/>
                      <a:pt x="1420905" y="676205"/>
                      <a:pt x="1352992" y="639248"/>
                    </a:cubicBezTo>
                    <a:cubicBezTo>
                      <a:pt x="1300033" y="610387"/>
                      <a:pt x="1247645" y="580574"/>
                      <a:pt x="1196020" y="549427"/>
                    </a:cubicBezTo>
                    <a:cubicBezTo>
                      <a:pt x="1131345" y="510375"/>
                      <a:pt x="1097055" y="452653"/>
                      <a:pt x="1096864" y="376358"/>
                    </a:cubicBezTo>
                    <a:cubicBezTo>
                      <a:pt x="1096674" y="322351"/>
                      <a:pt x="1096959" y="268440"/>
                      <a:pt x="1098007" y="214433"/>
                    </a:cubicBezTo>
                    <a:cubicBezTo>
                      <a:pt x="1098388" y="192240"/>
                      <a:pt x="1093054" y="179190"/>
                      <a:pt x="1067432" y="176428"/>
                    </a:cubicBezTo>
                    <a:cubicBezTo>
                      <a:pt x="996471" y="168713"/>
                      <a:pt x="925700" y="159283"/>
                      <a:pt x="855024" y="149187"/>
                    </a:cubicBezTo>
                    <a:cubicBezTo>
                      <a:pt x="829498" y="145567"/>
                      <a:pt x="817496" y="153664"/>
                      <a:pt x="811876" y="179286"/>
                    </a:cubicBezTo>
                    <a:cubicBezTo>
                      <a:pt x="801018" y="228816"/>
                      <a:pt x="787016" y="277679"/>
                      <a:pt x="774824" y="326923"/>
                    </a:cubicBezTo>
                    <a:cubicBezTo>
                      <a:pt x="755012" y="406552"/>
                      <a:pt x="704910" y="456844"/>
                      <a:pt x="626710" y="479038"/>
                    </a:cubicBezTo>
                    <a:cubicBezTo>
                      <a:pt x="570227" y="495040"/>
                      <a:pt x="513553" y="510184"/>
                      <a:pt x="456594" y="524472"/>
                    </a:cubicBezTo>
                    <a:cubicBezTo>
                      <a:pt x="383156" y="542855"/>
                      <a:pt x="318196" y="525901"/>
                      <a:pt x="263236" y="473799"/>
                    </a:cubicBezTo>
                    <a:cubicBezTo>
                      <a:pt x="236757" y="448653"/>
                      <a:pt x="212087" y="421697"/>
                      <a:pt x="186179" y="395980"/>
                    </a:cubicBezTo>
                    <a:cubicBezTo>
                      <a:pt x="156175" y="366261"/>
                      <a:pt x="134077" y="325685"/>
                      <a:pt x="76546" y="351593"/>
                    </a:cubicBezTo>
                    <a:cubicBezTo>
                      <a:pt x="48352" y="364261"/>
                      <a:pt x="18063" y="340544"/>
                      <a:pt x="5966" y="308921"/>
                    </a:cubicBezTo>
                    <a:cubicBezTo>
                      <a:pt x="-6512" y="276250"/>
                      <a:pt x="441" y="246723"/>
                      <a:pt x="28159" y="223196"/>
                    </a:cubicBezTo>
                    <a:cubicBezTo>
                      <a:pt x="83785" y="175952"/>
                      <a:pt x="174844" y="179572"/>
                      <a:pt x="233232" y="234340"/>
                    </a:cubicBezTo>
                    <a:cubicBezTo>
                      <a:pt x="274857" y="273393"/>
                      <a:pt x="314576" y="314636"/>
                      <a:pt x="353343" y="356546"/>
                    </a:cubicBezTo>
                    <a:cubicBezTo>
                      <a:pt x="376584" y="381692"/>
                      <a:pt x="401063" y="389026"/>
                      <a:pt x="434115" y="378835"/>
                    </a:cubicBezTo>
                    <a:cubicBezTo>
                      <a:pt x="481073" y="364356"/>
                      <a:pt x="528889" y="352546"/>
                      <a:pt x="576609" y="341020"/>
                    </a:cubicBezTo>
                    <a:cubicBezTo>
                      <a:pt x="609470" y="333115"/>
                      <a:pt x="628044" y="315303"/>
                      <a:pt x="635283" y="281013"/>
                    </a:cubicBezTo>
                    <a:cubicBezTo>
                      <a:pt x="646713" y="226720"/>
                      <a:pt x="661476" y="173094"/>
                      <a:pt x="676145" y="119564"/>
                    </a:cubicBezTo>
                    <a:cubicBezTo>
                      <a:pt x="696814" y="43745"/>
                      <a:pt x="760060" y="-6071"/>
                      <a:pt x="838260" y="597"/>
                    </a:cubicBezTo>
                    <a:cubicBezTo>
                      <a:pt x="933034" y="8598"/>
                      <a:pt x="1027617" y="21266"/>
                      <a:pt x="1121439" y="36982"/>
                    </a:cubicBezTo>
                    <a:cubicBezTo>
                      <a:pt x="1191638" y="48698"/>
                      <a:pt x="1239834" y="110134"/>
                      <a:pt x="1243168" y="182239"/>
                    </a:cubicBezTo>
                    <a:cubicBezTo>
                      <a:pt x="1244597" y="212338"/>
                      <a:pt x="1243359" y="242532"/>
                      <a:pt x="1243359" y="272726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345" name="Freeform: Shape 344">
                <a:extLst>
                  <a:ext uri="{FF2B5EF4-FFF2-40B4-BE49-F238E27FC236}">
                    <a16:creationId xmlns:a16="http://schemas.microsoft.com/office/drawing/2014/main" id="{E5B8949F-0D08-4AC7-3C70-E2A149AB3C65}"/>
                  </a:ext>
                </a:extLst>
              </p:cNvPr>
              <p:cNvSpPr/>
              <p:nvPr/>
            </p:nvSpPr>
            <p:spPr>
              <a:xfrm rot="3600000">
                <a:off x="3889094" y="5309889"/>
                <a:ext cx="94319" cy="75056"/>
              </a:xfrm>
              <a:custGeom>
                <a:avLst/>
                <a:gdLst>
                  <a:gd name="connsiteX0" fmla="*/ 1628705 w 2094253"/>
                  <a:gd name="connsiteY0" fmla="*/ 1271209 h 1622474"/>
                  <a:gd name="connsiteX1" fmla="*/ 1634229 w 2094253"/>
                  <a:gd name="connsiteY1" fmla="*/ 1201009 h 1622474"/>
                  <a:gd name="connsiteX2" fmla="*/ 1760340 w 2094253"/>
                  <a:gd name="connsiteY2" fmla="*/ 1019082 h 1622474"/>
                  <a:gd name="connsiteX3" fmla="*/ 1916265 w 2094253"/>
                  <a:gd name="connsiteY3" fmla="*/ 948216 h 1622474"/>
                  <a:gd name="connsiteX4" fmla="*/ 1939982 w 2094253"/>
                  <a:gd name="connsiteY4" fmla="*/ 897924 h 1622474"/>
                  <a:gd name="connsiteX5" fmla="*/ 1877974 w 2094253"/>
                  <a:gd name="connsiteY5" fmla="*/ 703042 h 1622474"/>
                  <a:gd name="connsiteX6" fmla="*/ 1825396 w 2094253"/>
                  <a:gd name="connsiteY6" fmla="*/ 673896 h 1622474"/>
                  <a:gd name="connsiteX7" fmla="*/ 1657280 w 2094253"/>
                  <a:gd name="connsiteY7" fmla="*/ 706567 h 1622474"/>
                  <a:gd name="connsiteX8" fmla="*/ 1544790 w 2094253"/>
                  <a:gd name="connsiteY8" fmla="*/ 697803 h 1622474"/>
                  <a:gd name="connsiteX9" fmla="*/ 1339907 w 2094253"/>
                  <a:gd name="connsiteY9" fmla="*/ 387860 h 1622474"/>
                  <a:gd name="connsiteX10" fmla="*/ 1354480 w 2094253"/>
                  <a:gd name="connsiteY10" fmla="*/ 236317 h 1622474"/>
                  <a:gd name="connsiteX11" fmla="*/ 1326572 w 2094253"/>
                  <a:gd name="connsiteY11" fmla="*/ 196788 h 1622474"/>
                  <a:gd name="connsiteX12" fmla="*/ 1117498 w 2094253"/>
                  <a:gd name="connsiteY12" fmla="*/ 150783 h 1622474"/>
                  <a:gd name="connsiteX13" fmla="*/ 1072636 w 2094253"/>
                  <a:gd name="connsiteY13" fmla="*/ 178405 h 1622474"/>
                  <a:gd name="connsiteX14" fmla="*/ 1015104 w 2094253"/>
                  <a:gd name="connsiteY14" fmla="*/ 344712 h 1622474"/>
                  <a:gd name="connsiteX15" fmla="*/ 859371 w 2094253"/>
                  <a:gd name="connsiteY15" fmla="*/ 484920 h 1622474"/>
                  <a:gd name="connsiteX16" fmla="*/ 798696 w 2094253"/>
                  <a:gd name="connsiteY16" fmla="*/ 496635 h 1622474"/>
                  <a:gd name="connsiteX17" fmla="*/ 548951 w 2094253"/>
                  <a:gd name="connsiteY17" fmla="*/ 439581 h 1622474"/>
                  <a:gd name="connsiteX18" fmla="*/ 432079 w 2094253"/>
                  <a:gd name="connsiteY18" fmla="*/ 364809 h 1622474"/>
                  <a:gd name="connsiteX19" fmla="*/ 333019 w 2094253"/>
                  <a:gd name="connsiteY19" fmla="*/ 461202 h 1622474"/>
                  <a:gd name="connsiteX20" fmla="*/ 253962 w 2094253"/>
                  <a:gd name="connsiteY20" fmla="*/ 561786 h 1622474"/>
                  <a:gd name="connsiteX21" fmla="*/ 331305 w 2094253"/>
                  <a:gd name="connsiteY21" fmla="*/ 660180 h 1622474"/>
                  <a:gd name="connsiteX22" fmla="*/ 397694 w 2094253"/>
                  <a:gd name="connsiteY22" fmla="*/ 910878 h 1622474"/>
                  <a:gd name="connsiteX23" fmla="*/ 389312 w 2094253"/>
                  <a:gd name="connsiteY23" fmla="*/ 952883 h 1622474"/>
                  <a:gd name="connsiteX24" fmla="*/ 205860 w 2094253"/>
                  <a:gd name="connsiteY24" fmla="*/ 1181578 h 1622474"/>
                  <a:gd name="connsiteX25" fmla="*/ 114801 w 2094253"/>
                  <a:gd name="connsiteY25" fmla="*/ 1222250 h 1622474"/>
                  <a:gd name="connsiteX26" fmla="*/ 6407 w 2094253"/>
                  <a:gd name="connsiteY26" fmla="*/ 1189198 h 1622474"/>
                  <a:gd name="connsiteX27" fmla="*/ 52508 w 2094253"/>
                  <a:gd name="connsiteY27" fmla="*/ 1089281 h 1622474"/>
                  <a:gd name="connsiteX28" fmla="*/ 191001 w 2094253"/>
                  <a:gd name="connsiteY28" fmla="*/ 1026130 h 1622474"/>
                  <a:gd name="connsiteX29" fmla="*/ 228244 w 2094253"/>
                  <a:gd name="connsiteY29" fmla="*/ 986506 h 1622474"/>
                  <a:gd name="connsiteX30" fmla="*/ 261772 w 2094253"/>
                  <a:gd name="connsiteY30" fmla="*/ 833344 h 1622474"/>
                  <a:gd name="connsiteX31" fmla="*/ 244437 w 2094253"/>
                  <a:gd name="connsiteY31" fmla="*/ 786481 h 1622474"/>
                  <a:gd name="connsiteX32" fmla="*/ 144615 w 2094253"/>
                  <a:gd name="connsiteY32" fmla="*/ 671419 h 1622474"/>
                  <a:gd name="connsiteX33" fmla="*/ 145281 w 2094253"/>
                  <a:gd name="connsiteY33" fmla="*/ 447677 h 1622474"/>
                  <a:gd name="connsiteX34" fmla="*/ 311874 w 2094253"/>
                  <a:gd name="connsiteY34" fmla="*/ 264606 h 1622474"/>
                  <a:gd name="connsiteX35" fmla="*/ 526853 w 2094253"/>
                  <a:gd name="connsiteY35" fmla="*/ 242032 h 1622474"/>
                  <a:gd name="connsiteX36" fmla="*/ 651154 w 2094253"/>
                  <a:gd name="connsiteY36" fmla="*/ 329948 h 1622474"/>
                  <a:gd name="connsiteX37" fmla="*/ 891375 w 2094253"/>
                  <a:gd name="connsiteY37" fmla="*/ 252700 h 1622474"/>
                  <a:gd name="connsiteX38" fmla="*/ 941476 w 2094253"/>
                  <a:gd name="connsiteY38" fmla="*/ 108968 h 1622474"/>
                  <a:gd name="connsiteX39" fmla="*/ 1130547 w 2094253"/>
                  <a:gd name="connsiteY39" fmla="*/ 4193 h 1622474"/>
                  <a:gd name="connsiteX40" fmla="*/ 1367625 w 2094253"/>
                  <a:gd name="connsiteY40" fmla="*/ 55628 h 1622474"/>
                  <a:gd name="connsiteX41" fmla="*/ 1501261 w 2094253"/>
                  <a:gd name="connsiteY41" fmla="*/ 234412 h 1622474"/>
                  <a:gd name="connsiteX42" fmla="*/ 1488021 w 2094253"/>
                  <a:gd name="connsiteY42" fmla="*/ 386145 h 1622474"/>
                  <a:gd name="connsiteX43" fmla="*/ 1667948 w 2094253"/>
                  <a:gd name="connsiteY43" fmla="*/ 554357 h 1622474"/>
                  <a:gd name="connsiteX44" fmla="*/ 1822158 w 2094253"/>
                  <a:gd name="connsiteY44" fmla="*/ 524925 h 1622474"/>
                  <a:gd name="connsiteX45" fmla="*/ 2008943 w 2094253"/>
                  <a:gd name="connsiteY45" fmla="*/ 633891 h 1622474"/>
                  <a:gd name="connsiteX46" fmla="*/ 2085905 w 2094253"/>
                  <a:gd name="connsiteY46" fmla="*/ 874016 h 1622474"/>
                  <a:gd name="connsiteX47" fmla="*/ 1997989 w 2094253"/>
                  <a:gd name="connsiteY47" fmla="*/ 1071755 h 1622474"/>
                  <a:gd name="connsiteX48" fmla="*/ 1829302 w 2094253"/>
                  <a:gd name="connsiteY48" fmla="*/ 1149003 h 1622474"/>
                  <a:gd name="connsiteX49" fmla="*/ 1779486 w 2094253"/>
                  <a:gd name="connsiteY49" fmla="*/ 1218059 h 1622474"/>
                  <a:gd name="connsiteX50" fmla="*/ 1839017 w 2094253"/>
                  <a:gd name="connsiteY50" fmla="*/ 1420656 h 1622474"/>
                  <a:gd name="connsiteX51" fmla="*/ 1907692 w 2094253"/>
                  <a:gd name="connsiteY51" fmla="*/ 1499427 h 1622474"/>
                  <a:gd name="connsiteX52" fmla="*/ 1899786 w 2094253"/>
                  <a:gd name="connsiteY52" fmla="*/ 1605346 h 1622474"/>
                  <a:gd name="connsiteX53" fmla="*/ 1797393 w 2094253"/>
                  <a:gd name="connsiteY53" fmla="*/ 1595249 h 1622474"/>
                  <a:gd name="connsiteX54" fmla="*/ 1657947 w 2094253"/>
                  <a:gd name="connsiteY54" fmla="*/ 1432752 h 1622474"/>
                  <a:gd name="connsiteX55" fmla="*/ 1628800 w 2094253"/>
                  <a:gd name="connsiteY55" fmla="*/ 1270827 h 1622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2094253" h="1622474">
                    <a:moveTo>
                      <a:pt x="1628705" y="1271209"/>
                    </a:moveTo>
                    <a:cubicBezTo>
                      <a:pt x="1630991" y="1242157"/>
                      <a:pt x="1632515" y="1221583"/>
                      <a:pt x="1634229" y="1201009"/>
                    </a:cubicBezTo>
                    <a:cubicBezTo>
                      <a:pt x="1641087" y="1116046"/>
                      <a:pt x="1683474" y="1055372"/>
                      <a:pt x="1760340" y="1019082"/>
                    </a:cubicBezTo>
                    <a:cubicBezTo>
                      <a:pt x="1811966" y="994698"/>
                      <a:pt x="1863687" y="970504"/>
                      <a:pt x="1916265" y="948216"/>
                    </a:cubicBezTo>
                    <a:cubicBezTo>
                      <a:pt x="1941220" y="937643"/>
                      <a:pt x="1949697" y="925642"/>
                      <a:pt x="1939982" y="897924"/>
                    </a:cubicBezTo>
                    <a:cubicBezTo>
                      <a:pt x="1917408" y="833630"/>
                      <a:pt x="1896072" y="768765"/>
                      <a:pt x="1877974" y="703042"/>
                    </a:cubicBezTo>
                    <a:cubicBezTo>
                      <a:pt x="1869211" y="671419"/>
                      <a:pt x="1852257" y="668371"/>
                      <a:pt x="1825396" y="673896"/>
                    </a:cubicBezTo>
                    <a:cubicBezTo>
                      <a:pt x="1769485" y="685421"/>
                      <a:pt x="1713287" y="695422"/>
                      <a:pt x="1657280" y="706567"/>
                    </a:cubicBezTo>
                    <a:cubicBezTo>
                      <a:pt x="1618799" y="714186"/>
                      <a:pt x="1581461" y="710472"/>
                      <a:pt x="1544790" y="697803"/>
                    </a:cubicBezTo>
                    <a:cubicBezTo>
                      <a:pt x="1435443" y="660275"/>
                      <a:pt x="1331239" y="502827"/>
                      <a:pt x="1339907" y="387860"/>
                    </a:cubicBezTo>
                    <a:cubicBezTo>
                      <a:pt x="1343717" y="337282"/>
                      <a:pt x="1348098" y="286609"/>
                      <a:pt x="1354480" y="236317"/>
                    </a:cubicBezTo>
                    <a:cubicBezTo>
                      <a:pt x="1357528" y="212219"/>
                      <a:pt x="1350099" y="201646"/>
                      <a:pt x="1326572" y="196788"/>
                    </a:cubicBezTo>
                    <a:cubicBezTo>
                      <a:pt x="1256658" y="182501"/>
                      <a:pt x="1186936" y="167261"/>
                      <a:pt x="1117498" y="150783"/>
                    </a:cubicBezTo>
                    <a:cubicBezTo>
                      <a:pt x="1091304" y="144591"/>
                      <a:pt x="1080255" y="154878"/>
                      <a:pt x="1072636" y="178405"/>
                    </a:cubicBezTo>
                    <a:cubicBezTo>
                      <a:pt x="1054538" y="234222"/>
                      <a:pt x="1035107" y="289562"/>
                      <a:pt x="1015104" y="344712"/>
                    </a:cubicBezTo>
                    <a:cubicBezTo>
                      <a:pt x="988149" y="418721"/>
                      <a:pt x="935666" y="465489"/>
                      <a:pt x="859371" y="484920"/>
                    </a:cubicBezTo>
                    <a:cubicBezTo>
                      <a:pt x="839463" y="489968"/>
                      <a:pt x="818985" y="493016"/>
                      <a:pt x="798696" y="496635"/>
                    </a:cubicBezTo>
                    <a:cubicBezTo>
                      <a:pt x="707542" y="512637"/>
                      <a:pt x="623151" y="505113"/>
                      <a:pt x="548951" y="439581"/>
                    </a:cubicBezTo>
                    <a:cubicBezTo>
                      <a:pt x="513899" y="408624"/>
                      <a:pt x="473608" y="361476"/>
                      <a:pt x="432079" y="364809"/>
                    </a:cubicBezTo>
                    <a:cubicBezTo>
                      <a:pt x="390074" y="368238"/>
                      <a:pt x="364356" y="426055"/>
                      <a:pt x="333019" y="461202"/>
                    </a:cubicBezTo>
                    <a:cubicBezTo>
                      <a:pt x="303968" y="493873"/>
                      <a:pt x="250247" y="521781"/>
                      <a:pt x="253962" y="561786"/>
                    </a:cubicBezTo>
                    <a:cubicBezTo>
                      <a:pt x="257200" y="596934"/>
                      <a:pt x="299396" y="632653"/>
                      <a:pt x="331305" y="660180"/>
                    </a:cubicBezTo>
                    <a:cubicBezTo>
                      <a:pt x="411791" y="729903"/>
                      <a:pt x="421316" y="815247"/>
                      <a:pt x="397694" y="910878"/>
                    </a:cubicBezTo>
                    <a:cubicBezTo>
                      <a:pt x="394265" y="924689"/>
                      <a:pt x="391407" y="938786"/>
                      <a:pt x="389312" y="952883"/>
                    </a:cubicBezTo>
                    <a:cubicBezTo>
                      <a:pt x="372357" y="1064611"/>
                      <a:pt x="323875" y="1149765"/>
                      <a:pt x="205860" y="1181578"/>
                    </a:cubicBezTo>
                    <a:cubicBezTo>
                      <a:pt x="174142" y="1190151"/>
                      <a:pt x="145377" y="1209105"/>
                      <a:pt x="114801" y="1222250"/>
                    </a:cubicBezTo>
                    <a:cubicBezTo>
                      <a:pt x="66129" y="1243300"/>
                      <a:pt x="23933" y="1230060"/>
                      <a:pt x="6407" y="1189198"/>
                    </a:cubicBezTo>
                    <a:cubicBezTo>
                      <a:pt x="-10548" y="1149670"/>
                      <a:pt x="6597" y="1111189"/>
                      <a:pt x="52508" y="1089281"/>
                    </a:cubicBezTo>
                    <a:cubicBezTo>
                      <a:pt x="98323" y="1067469"/>
                      <a:pt x="144519" y="1046514"/>
                      <a:pt x="191001" y="1026130"/>
                    </a:cubicBezTo>
                    <a:cubicBezTo>
                      <a:pt x="209575" y="1018034"/>
                      <a:pt x="221958" y="1006794"/>
                      <a:pt x="228244" y="986506"/>
                    </a:cubicBezTo>
                    <a:cubicBezTo>
                      <a:pt x="243960" y="936309"/>
                      <a:pt x="253485" y="885065"/>
                      <a:pt x="261772" y="833344"/>
                    </a:cubicBezTo>
                    <a:cubicBezTo>
                      <a:pt x="264915" y="813913"/>
                      <a:pt x="256533" y="800197"/>
                      <a:pt x="244437" y="786481"/>
                    </a:cubicBezTo>
                    <a:cubicBezTo>
                      <a:pt x="210813" y="748476"/>
                      <a:pt x="177381" y="710186"/>
                      <a:pt x="144615" y="671419"/>
                    </a:cubicBezTo>
                    <a:cubicBezTo>
                      <a:pt x="83369" y="598934"/>
                      <a:pt x="83178" y="517686"/>
                      <a:pt x="145281" y="447677"/>
                    </a:cubicBezTo>
                    <a:cubicBezTo>
                      <a:pt x="199955" y="385955"/>
                      <a:pt x="255390" y="324709"/>
                      <a:pt x="311874" y="264606"/>
                    </a:cubicBezTo>
                    <a:cubicBezTo>
                      <a:pt x="372738" y="199932"/>
                      <a:pt x="453320" y="191931"/>
                      <a:pt x="526853" y="242032"/>
                    </a:cubicBezTo>
                    <a:cubicBezTo>
                      <a:pt x="568763" y="270607"/>
                      <a:pt x="609625" y="300801"/>
                      <a:pt x="651154" y="329948"/>
                    </a:cubicBezTo>
                    <a:cubicBezTo>
                      <a:pt x="738213" y="391194"/>
                      <a:pt x="856704" y="352998"/>
                      <a:pt x="891375" y="252700"/>
                    </a:cubicBezTo>
                    <a:cubicBezTo>
                      <a:pt x="907948" y="204789"/>
                      <a:pt x="923855" y="156498"/>
                      <a:pt x="941476" y="108968"/>
                    </a:cubicBezTo>
                    <a:cubicBezTo>
                      <a:pt x="972052" y="26577"/>
                      <a:pt x="1045108" y="-13714"/>
                      <a:pt x="1130547" y="4193"/>
                    </a:cubicBezTo>
                    <a:cubicBezTo>
                      <a:pt x="1209700" y="20766"/>
                      <a:pt x="1288758" y="37911"/>
                      <a:pt x="1367625" y="55628"/>
                    </a:cubicBezTo>
                    <a:cubicBezTo>
                      <a:pt x="1460589" y="76488"/>
                      <a:pt x="1507166" y="138686"/>
                      <a:pt x="1501261" y="234412"/>
                    </a:cubicBezTo>
                    <a:cubicBezTo>
                      <a:pt x="1498117" y="285085"/>
                      <a:pt x="1492974" y="335568"/>
                      <a:pt x="1488021" y="386145"/>
                    </a:cubicBezTo>
                    <a:cubicBezTo>
                      <a:pt x="1478305" y="484253"/>
                      <a:pt x="1573079" y="573026"/>
                      <a:pt x="1667948" y="554357"/>
                    </a:cubicBezTo>
                    <a:cubicBezTo>
                      <a:pt x="1719288" y="544260"/>
                      <a:pt x="1770628" y="534069"/>
                      <a:pt x="1822158" y="524925"/>
                    </a:cubicBezTo>
                    <a:cubicBezTo>
                      <a:pt x="1909407" y="509399"/>
                      <a:pt x="1980463" y="550166"/>
                      <a:pt x="2008943" y="633891"/>
                    </a:cubicBezTo>
                    <a:cubicBezTo>
                      <a:pt x="2035994" y="713424"/>
                      <a:pt x="2061807" y="793530"/>
                      <a:pt x="2085905" y="874016"/>
                    </a:cubicBezTo>
                    <a:cubicBezTo>
                      <a:pt x="2111337" y="958979"/>
                      <a:pt x="2077713" y="1033369"/>
                      <a:pt x="1997989" y="1071755"/>
                    </a:cubicBezTo>
                    <a:cubicBezTo>
                      <a:pt x="1942268" y="1098616"/>
                      <a:pt x="1885975" y="1124143"/>
                      <a:pt x="1829302" y="1149003"/>
                    </a:cubicBezTo>
                    <a:cubicBezTo>
                      <a:pt x="1798345" y="1162624"/>
                      <a:pt x="1783486" y="1185103"/>
                      <a:pt x="1779486" y="1218059"/>
                    </a:cubicBezTo>
                    <a:cubicBezTo>
                      <a:pt x="1770246" y="1294354"/>
                      <a:pt x="1771104" y="1365792"/>
                      <a:pt x="1839017" y="1420656"/>
                    </a:cubicBezTo>
                    <a:cubicBezTo>
                      <a:pt x="1865687" y="1442277"/>
                      <a:pt x="1886356" y="1471900"/>
                      <a:pt x="1907692" y="1499427"/>
                    </a:cubicBezTo>
                    <a:cubicBezTo>
                      <a:pt x="1936458" y="1536480"/>
                      <a:pt x="1932362" y="1578866"/>
                      <a:pt x="1899786" y="1605346"/>
                    </a:cubicBezTo>
                    <a:cubicBezTo>
                      <a:pt x="1868544" y="1630682"/>
                      <a:pt x="1827587" y="1628396"/>
                      <a:pt x="1797393" y="1595249"/>
                    </a:cubicBezTo>
                    <a:cubicBezTo>
                      <a:pt x="1749387" y="1542385"/>
                      <a:pt x="1700619" y="1489807"/>
                      <a:pt x="1657947" y="1432752"/>
                    </a:cubicBezTo>
                    <a:cubicBezTo>
                      <a:pt x="1620609" y="1382842"/>
                      <a:pt x="1629562" y="1320834"/>
                      <a:pt x="1628800" y="1270827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346" name="Freeform: Shape 345">
                <a:extLst>
                  <a:ext uri="{FF2B5EF4-FFF2-40B4-BE49-F238E27FC236}">
                    <a16:creationId xmlns:a16="http://schemas.microsoft.com/office/drawing/2014/main" id="{680B9FDA-A1D0-CCCC-B8D9-A7FD9B8FBE98}"/>
                  </a:ext>
                </a:extLst>
              </p:cNvPr>
              <p:cNvSpPr/>
              <p:nvPr/>
            </p:nvSpPr>
            <p:spPr>
              <a:xfrm rot="3600000">
                <a:off x="3865420" y="5418276"/>
                <a:ext cx="38661" cy="60084"/>
              </a:xfrm>
              <a:custGeom>
                <a:avLst/>
                <a:gdLst>
                  <a:gd name="connsiteX0" fmla="*/ 197876 w 858434"/>
                  <a:gd name="connsiteY0" fmla="*/ 149349 h 1298818"/>
                  <a:gd name="connsiteX1" fmla="*/ 94244 w 858434"/>
                  <a:gd name="connsiteY1" fmla="*/ 160302 h 1298818"/>
                  <a:gd name="connsiteX2" fmla="*/ 1280 w 858434"/>
                  <a:gd name="connsiteY2" fmla="*/ 102581 h 1298818"/>
                  <a:gd name="connsiteX3" fmla="*/ 69193 w 858434"/>
                  <a:gd name="connsiteY3" fmla="*/ 16189 h 1298818"/>
                  <a:gd name="connsiteX4" fmla="*/ 851101 w 858434"/>
                  <a:gd name="connsiteY4" fmla="*/ 553494 h 1298818"/>
                  <a:gd name="connsiteX5" fmla="*/ 378756 w 858434"/>
                  <a:gd name="connsiteY5" fmla="*/ 1288539 h 1298818"/>
                  <a:gd name="connsiteX6" fmla="*/ 355705 w 858434"/>
                  <a:gd name="connsiteY6" fmla="*/ 1294444 h 1298818"/>
                  <a:gd name="connsiteX7" fmla="*/ 246072 w 858434"/>
                  <a:gd name="connsiteY7" fmla="*/ 1243104 h 1298818"/>
                  <a:gd name="connsiteX8" fmla="*/ 320082 w 858434"/>
                  <a:gd name="connsiteY8" fmla="*/ 1151950 h 1298818"/>
                  <a:gd name="connsiteX9" fmla="*/ 699558 w 858434"/>
                  <a:gd name="connsiteY9" fmla="*/ 766092 h 1298818"/>
                  <a:gd name="connsiteX10" fmla="*/ 197971 w 858434"/>
                  <a:gd name="connsiteY10" fmla="*/ 149444 h 1298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58434" h="1298818">
                    <a:moveTo>
                      <a:pt x="197876" y="149349"/>
                    </a:moveTo>
                    <a:cubicBezTo>
                      <a:pt x="166253" y="148206"/>
                      <a:pt x="130344" y="154587"/>
                      <a:pt x="94244" y="160302"/>
                    </a:cubicBezTo>
                    <a:cubicBezTo>
                      <a:pt x="42714" y="168399"/>
                      <a:pt x="8614" y="146110"/>
                      <a:pt x="1280" y="102581"/>
                    </a:cubicBezTo>
                    <a:cubicBezTo>
                      <a:pt x="-6054" y="59433"/>
                      <a:pt x="18330" y="28381"/>
                      <a:pt x="69193" y="16189"/>
                    </a:cubicBezTo>
                    <a:cubicBezTo>
                      <a:pt x="422666" y="-68583"/>
                      <a:pt x="798522" y="189735"/>
                      <a:pt x="851101" y="553494"/>
                    </a:cubicBezTo>
                    <a:cubicBezTo>
                      <a:pt x="899773" y="890394"/>
                      <a:pt x="702130" y="1197956"/>
                      <a:pt x="378756" y="1288539"/>
                    </a:cubicBezTo>
                    <a:cubicBezTo>
                      <a:pt x="371136" y="1290634"/>
                      <a:pt x="363421" y="1292635"/>
                      <a:pt x="355705" y="1294444"/>
                    </a:cubicBezTo>
                    <a:cubicBezTo>
                      <a:pt x="296079" y="1308065"/>
                      <a:pt x="256741" y="1289586"/>
                      <a:pt x="246072" y="1243104"/>
                    </a:cubicBezTo>
                    <a:cubicBezTo>
                      <a:pt x="235976" y="1199385"/>
                      <a:pt x="262932" y="1167381"/>
                      <a:pt x="320082" y="1151950"/>
                    </a:cubicBezTo>
                    <a:cubicBezTo>
                      <a:pt x="521726" y="1097372"/>
                      <a:pt x="652980" y="969832"/>
                      <a:pt x="699558" y="766092"/>
                    </a:cubicBezTo>
                    <a:cubicBezTo>
                      <a:pt x="772138" y="448338"/>
                      <a:pt x="528965" y="149634"/>
                      <a:pt x="197971" y="149444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347" name="Oval 346">
                <a:extLst>
                  <a:ext uri="{FF2B5EF4-FFF2-40B4-BE49-F238E27FC236}">
                    <a16:creationId xmlns:a16="http://schemas.microsoft.com/office/drawing/2014/main" id="{C902CB20-4ED4-0942-3631-9086CAABEEA3}"/>
                  </a:ext>
                </a:extLst>
              </p:cNvPr>
              <p:cNvSpPr/>
              <p:nvPr/>
            </p:nvSpPr>
            <p:spPr>
              <a:xfrm rot="1800000">
                <a:off x="3907099" y="5334511"/>
                <a:ext cx="35145" cy="34232"/>
              </a:xfrm>
              <a:prstGeom prst="ellipse">
                <a:avLst/>
              </a:prstGeom>
              <a:solidFill>
                <a:schemeClr val="accent2"/>
              </a:solidFill>
              <a:ln w="635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348" name="Oval 347">
                <a:extLst>
                  <a:ext uri="{FF2B5EF4-FFF2-40B4-BE49-F238E27FC236}">
                    <a16:creationId xmlns:a16="http://schemas.microsoft.com/office/drawing/2014/main" id="{41CCBEA9-58A5-34AA-42A0-44419AC2162F}"/>
                  </a:ext>
                </a:extLst>
              </p:cNvPr>
              <p:cNvSpPr/>
              <p:nvPr/>
            </p:nvSpPr>
            <p:spPr>
              <a:xfrm rot="1800000">
                <a:off x="3758159" y="5314447"/>
                <a:ext cx="112417" cy="109359"/>
              </a:xfrm>
              <a:prstGeom prst="ellipse">
                <a:avLst/>
              </a:prstGeom>
              <a:solidFill>
                <a:schemeClr val="accent2"/>
              </a:solidFill>
              <a:ln w="635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302629A-5700-FFC3-468D-A27CAD20286E}"/>
              </a:ext>
            </a:extLst>
          </p:cNvPr>
          <p:cNvGrpSpPr/>
          <p:nvPr/>
        </p:nvGrpSpPr>
        <p:grpSpPr>
          <a:xfrm>
            <a:off x="7560226" y="3926542"/>
            <a:ext cx="864496" cy="1137116"/>
            <a:chOff x="7999799" y="3788293"/>
            <a:chExt cx="532357" cy="1085465"/>
          </a:xfrm>
        </p:grpSpPr>
        <p:cxnSp>
          <p:nvCxnSpPr>
            <p:cNvPr id="389" name="Straight Connector 388">
              <a:extLst>
                <a:ext uri="{FF2B5EF4-FFF2-40B4-BE49-F238E27FC236}">
                  <a16:creationId xmlns:a16="http://schemas.microsoft.com/office/drawing/2014/main" id="{F1BCCC2F-2DBA-9711-909D-6FEBE9A673C2}"/>
                </a:ext>
              </a:extLst>
            </p:cNvPr>
            <p:cNvCxnSpPr>
              <a:cxnSpLocks/>
            </p:cNvCxnSpPr>
            <p:nvPr/>
          </p:nvCxnSpPr>
          <p:spPr>
            <a:xfrm>
              <a:off x="8011975" y="3788293"/>
              <a:ext cx="520181" cy="0"/>
            </a:xfrm>
            <a:prstGeom prst="line">
              <a:avLst/>
            </a:prstGeom>
            <a:ln w="12700">
              <a:solidFill>
                <a:schemeClr val="bg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4" name="Straight Connector 393">
              <a:extLst>
                <a:ext uri="{FF2B5EF4-FFF2-40B4-BE49-F238E27FC236}">
                  <a16:creationId xmlns:a16="http://schemas.microsoft.com/office/drawing/2014/main" id="{E07E1878-A14B-6707-CE1B-EA2378447E33}"/>
                </a:ext>
              </a:extLst>
            </p:cNvPr>
            <p:cNvCxnSpPr>
              <a:cxnSpLocks/>
            </p:cNvCxnSpPr>
            <p:nvPr/>
          </p:nvCxnSpPr>
          <p:spPr>
            <a:xfrm>
              <a:off x="7999799" y="4873758"/>
              <a:ext cx="520181" cy="0"/>
            </a:xfrm>
            <a:prstGeom prst="line">
              <a:avLst/>
            </a:prstGeom>
            <a:ln w="12700">
              <a:solidFill>
                <a:schemeClr val="bg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98" name="Straight Connector 397">
            <a:extLst>
              <a:ext uri="{FF2B5EF4-FFF2-40B4-BE49-F238E27FC236}">
                <a16:creationId xmlns:a16="http://schemas.microsoft.com/office/drawing/2014/main" id="{444F31F8-8918-D6D0-A28E-B900FBB187C6}"/>
              </a:ext>
            </a:extLst>
          </p:cNvPr>
          <p:cNvCxnSpPr>
            <a:cxnSpLocks/>
          </p:cNvCxnSpPr>
          <p:nvPr/>
        </p:nvCxnSpPr>
        <p:spPr>
          <a:xfrm>
            <a:off x="9246607" y="3966966"/>
            <a:ext cx="1799218" cy="0"/>
          </a:xfrm>
          <a:prstGeom prst="line">
            <a:avLst/>
          </a:prstGeom>
          <a:ln w="12700">
            <a:solidFill>
              <a:schemeClr val="bg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Straight Connector 398">
            <a:extLst>
              <a:ext uri="{FF2B5EF4-FFF2-40B4-BE49-F238E27FC236}">
                <a16:creationId xmlns:a16="http://schemas.microsoft.com/office/drawing/2014/main" id="{87C9EBA3-CF03-1A44-2D0E-47CD1E882A86}"/>
              </a:ext>
            </a:extLst>
          </p:cNvPr>
          <p:cNvCxnSpPr>
            <a:cxnSpLocks/>
          </p:cNvCxnSpPr>
          <p:nvPr/>
        </p:nvCxnSpPr>
        <p:spPr>
          <a:xfrm>
            <a:off x="8757837" y="4667347"/>
            <a:ext cx="0" cy="194019"/>
          </a:xfrm>
          <a:prstGeom prst="line">
            <a:avLst/>
          </a:prstGeom>
          <a:ln w="12700">
            <a:solidFill>
              <a:schemeClr val="bg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1" name="Freeform: Shape 400">
            <a:extLst>
              <a:ext uri="{FF2B5EF4-FFF2-40B4-BE49-F238E27FC236}">
                <a16:creationId xmlns:a16="http://schemas.microsoft.com/office/drawing/2014/main" id="{D4BAF7DE-D53F-A759-FD08-CEC1946D2D47}"/>
              </a:ext>
            </a:extLst>
          </p:cNvPr>
          <p:cNvSpPr/>
          <p:nvPr/>
        </p:nvSpPr>
        <p:spPr>
          <a:xfrm>
            <a:off x="9324508" y="4318661"/>
            <a:ext cx="661156" cy="485413"/>
          </a:xfrm>
          <a:custGeom>
            <a:avLst/>
            <a:gdLst>
              <a:gd name="connsiteX0" fmla="*/ 771525 w 771525"/>
              <a:gd name="connsiteY0" fmla="*/ 685800 h 685800"/>
              <a:gd name="connsiteX1" fmla="*/ 352425 w 771525"/>
              <a:gd name="connsiteY1" fmla="*/ 685800 h 685800"/>
              <a:gd name="connsiteX2" fmla="*/ 352425 w 771525"/>
              <a:gd name="connsiteY2" fmla="*/ 0 h 685800"/>
              <a:gd name="connsiteX3" fmla="*/ 0 w 771525"/>
              <a:gd name="connsiteY3" fmla="*/ 0 h 685800"/>
              <a:gd name="connsiteX0" fmla="*/ 819150 w 819150"/>
              <a:gd name="connsiteY0" fmla="*/ 688975 h 688975"/>
              <a:gd name="connsiteX1" fmla="*/ 400050 w 819150"/>
              <a:gd name="connsiteY1" fmla="*/ 688975 h 688975"/>
              <a:gd name="connsiteX2" fmla="*/ 400050 w 819150"/>
              <a:gd name="connsiteY2" fmla="*/ 3175 h 688975"/>
              <a:gd name="connsiteX3" fmla="*/ 0 w 819150"/>
              <a:gd name="connsiteY3" fmla="*/ 0 h 68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150" h="688975">
                <a:moveTo>
                  <a:pt x="819150" y="688975"/>
                </a:moveTo>
                <a:lnTo>
                  <a:pt x="400050" y="688975"/>
                </a:lnTo>
                <a:lnTo>
                  <a:pt x="400050" y="3175"/>
                </a:lnTo>
                <a:lnTo>
                  <a:pt x="0" y="0"/>
                </a:lnTo>
              </a:path>
            </a:pathLst>
          </a:custGeom>
          <a:ln w="12700">
            <a:solidFill>
              <a:schemeClr val="bg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sz="110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2064AA9-730A-B351-A6CF-DB7BCDE8BEA6}"/>
              </a:ext>
            </a:extLst>
          </p:cNvPr>
          <p:cNvGrpSpPr/>
          <p:nvPr/>
        </p:nvGrpSpPr>
        <p:grpSpPr>
          <a:xfrm>
            <a:off x="10728386" y="3805455"/>
            <a:ext cx="1125965" cy="777274"/>
            <a:chOff x="10690286" y="3234881"/>
            <a:chExt cx="1125965" cy="464769"/>
          </a:xfrm>
        </p:grpSpPr>
        <p:sp>
          <p:nvSpPr>
            <p:cNvPr id="351" name="TextBox 350">
              <a:extLst>
                <a:ext uri="{FF2B5EF4-FFF2-40B4-BE49-F238E27FC236}">
                  <a16:creationId xmlns:a16="http://schemas.microsoft.com/office/drawing/2014/main" id="{2CF7A5D9-D593-681C-B5CE-3C6A8F2A12E8}"/>
                </a:ext>
              </a:extLst>
            </p:cNvPr>
            <p:cNvSpPr txBox="1"/>
            <p:nvPr/>
          </p:nvSpPr>
          <p:spPr>
            <a:xfrm>
              <a:off x="10690286" y="3598432"/>
              <a:ext cx="1125965" cy="101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1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PostgreSQL</a:t>
              </a:r>
              <a:endParaRPr lang="en-GB" sz="11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A155EBE-1A7D-2D16-ABD5-954F70A5C1CA}"/>
                </a:ext>
              </a:extLst>
            </p:cNvPr>
            <p:cNvSpPr/>
            <p:nvPr/>
          </p:nvSpPr>
          <p:spPr>
            <a:xfrm flipH="1">
              <a:off x="11323082" y="3234881"/>
              <a:ext cx="45719" cy="4571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200" dirty="0" err="1"/>
            </a:p>
          </p:txBody>
        </p:sp>
      </p:grpSp>
      <p:cxnSp>
        <p:nvCxnSpPr>
          <p:cNvPr id="232" name="Straight Arrow Connector 231">
            <a:extLst>
              <a:ext uri="{FF2B5EF4-FFF2-40B4-BE49-F238E27FC236}">
                <a16:creationId xmlns:a16="http://schemas.microsoft.com/office/drawing/2014/main" id="{A7CE18FC-E252-1B67-F9E3-C49F0A2B1557}"/>
              </a:ext>
            </a:extLst>
          </p:cNvPr>
          <p:cNvCxnSpPr>
            <a:cxnSpLocks/>
            <a:endCxn id="253" idx="1"/>
          </p:cNvCxnSpPr>
          <p:nvPr/>
        </p:nvCxnSpPr>
        <p:spPr>
          <a:xfrm>
            <a:off x="3406707" y="4098162"/>
            <a:ext cx="777605" cy="0"/>
          </a:xfrm>
          <a:prstGeom prst="straightConnector1">
            <a:avLst/>
          </a:prstGeom>
          <a:ln w="12700"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6811254-EDA7-8784-C246-8A9E8A86988F}"/>
              </a:ext>
            </a:extLst>
          </p:cNvPr>
          <p:cNvGrpSpPr/>
          <p:nvPr/>
        </p:nvGrpSpPr>
        <p:grpSpPr>
          <a:xfrm>
            <a:off x="2339337" y="2735923"/>
            <a:ext cx="936625" cy="2967175"/>
            <a:chOff x="2339337" y="2733454"/>
            <a:chExt cx="936625" cy="296717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8F1C161-4F66-3050-DC11-ED7D3C914221}"/>
                </a:ext>
              </a:extLst>
            </p:cNvPr>
            <p:cNvSpPr/>
            <p:nvPr/>
          </p:nvSpPr>
          <p:spPr>
            <a:xfrm>
              <a:off x="2339337" y="2733454"/>
              <a:ext cx="936625" cy="2784216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200" dirty="0" err="1"/>
            </a:p>
          </p:txBody>
        </p:sp>
        <p:grpSp>
          <p:nvGrpSpPr>
            <p:cNvPr id="237" name="Group 236">
              <a:extLst>
                <a:ext uri="{FF2B5EF4-FFF2-40B4-BE49-F238E27FC236}">
                  <a16:creationId xmlns:a16="http://schemas.microsoft.com/office/drawing/2014/main" id="{6FABA76B-5250-8BB5-296B-0120980D55B3}"/>
                </a:ext>
              </a:extLst>
            </p:cNvPr>
            <p:cNvGrpSpPr/>
            <p:nvPr/>
          </p:nvGrpSpPr>
          <p:grpSpPr>
            <a:xfrm>
              <a:off x="2357568" y="3199237"/>
              <a:ext cx="900162" cy="864700"/>
              <a:chOff x="2897851" y="2785630"/>
              <a:chExt cx="900162" cy="864700"/>
            </a:xfrm>
          </p:grpSpPr>
          <p:pic>
            <p:nvPicPr>
              <p:cNvPr id="104" name="Graphic 103">
                <a:extLst>
                  <a:ext uri="{FF2B5EF4-FFF2-40B4-BE49-F238E27FC236}">
                    <a16:creationId xmlns:a16="http://schemas.microsoft.com/office/drawing/2014/main" id="{70AF6788-6422-568E-34F6-6845E5880A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2987926" y="2785630"/>
                <a:ext cx="675484" cy="587376"/>
              </a:xfrm>
              <a:prstGeom prst="rect">
                <a:avLst/>
              </a:prstGeom>
            </p:spPr>
          </p:pic>
          <p:sp>
            <p:nvSpPr>
              <p:cNvPr id="236" name="TextBox 235">
                <a:extLst>
                  <a:ext uri="{FF2B5EF4-FFF2-40B4-BE49-F238E27FC236}">
                    <a16:creationId xmlns:a16="http://schemas.microsoft.com/office/drawing/2014/main" id="{27ADC635-7781-18D1-D4DE-486681414321}"/>
                  </a:ext>
                </a:extLst>
              </p:cNvPr>
              <p:cNvSpPr txBox="1"/>
              <p:nvPr/>
            </p:nvSpPr>
            <p:spPr>
              <a:xfrm>
                <a:off x="2897851" y="3465664"/>
                <a:ext cx="900162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IN" sz="1200" b="1" dirty="0">
                    <a:solidFill>
                      <a:schemeClr val="bg2"/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React JS</a:t>
                </a:r>
                <a:endParaRPr lang="en-GB" sz="1200" b="1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6EA945C-95B0-B84A-4A7A-4752173D2BF3}"/>
                </a:ext>
              </a:extLst>
            </p:cNvPr>
            <p:cNvSpPr txBox="1"/>
            <p:nvPr/>
          </p:nvSpPr>
          <p:spPr>
            <a:xfrm>
              <a:off x="2357568" y="5515963"/>
              <a:ext cx="90016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accent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Frontend</a:t>
              </a:r>
              <a:endParaRPr lang="en-GB" sz="1200" b="1" dirty="0">
                <a:solidFill>
                  <a:schemeClr val="accent1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B6250962-BDB2-4DE8-1CED-E53FECFC834B}"/>
              </a:ext>
            </a:extLst>
          </p:cNvPr>
          <p:cNvSpPr txBox="1"/>
          <p:nvPr/>
        </p:nvSpPr>
        <p:spPr>
          <a:xfrm>
            <a:off x="6868117" y="5899076"/>
            <a:ext cx="90016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200" b="1" dirty="0">
                <a:solidFill>
                  <a:schemeClr val="accent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Backend</a:t>
            </a:r>
            <a:endParaRPr lang="en-GB" sz="1200" b="1" dirty="0">
              <a:solidFill>
                <a:schemeClr val="accent1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0" name="Picture 29" descr="A black and white logo&#10;&#10;Description automatically generated">
            <a:extLst>
              <a:ext uri="{FF2B5EF4-FFF2-40B4-BE49-F238E27FC236}">
                <a16:creationId xmlns:a16="http://schemas.microsoft.com/office/drawing/2014/main" id="{3B3216BA-9A1A-4A7C-2542-B14E9E91A7F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8479" b="18232"/>
          <a:stretch/>
        </p:blipFill>
        <p:spPr>
          <a:xfrm>
            <a:off x="10486963" y="1914568"/>
            <a:ext cx="905293" cy="501294"/>
          </a:xfrm>
          <a:prstGeom prst="rect">
            <a:avLst/>
          </a:prstGeom>
        </p:spPr>
      </p:pic>
      <p:pic>
        <p:nvPicPr>
          <p:cNvPr id="229" name="Picture 228" descr="A grey circle with white letters&#10;&#10;Description automatically generated">
            <a:extLst>
              <a:ext uri="{FF2B5EF4-FFF2-40B4-BE49-F238E27FC236}">
                <a16:creationId xmlns:a16="http://schemas.microsoft.com/office/drawing/2014/main" id="{5B6D6B5D-E762-7A5E-DFF2-7B635C6B1D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76461" y="1859930"/>
            <a:ext cx="609423" cy="591216"/>
          </a:xfrm>
          <a:prstGeom prst="rect">
            <a:avLst/>
          </a:prstGeom>
        </p:spPr>
      </p:pic>
      <p:pic>
        <p:nvPicPr>
          <p:cNvPr id="231" name="Picture 230" descr="A blue logo with a white background&#10;&#10;Description automatically generated">
            <a:extLst>
              <a:ext uri="{FF2B5EF4-FFF2-40B4-BE49-F238E27FC236}">
                <a16:creationId xmlns:a16="http://schemas.microsoft.com/office/drawing/2014/main" id="{7C5C70A4-591C-BED2-A32F-FA0F185377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15383" y="4415574"/>
            <a:ext cx="389152" cy="335960"/>
          </a:xfrm>
          <a:prstGeom prst="rect">
            <a:avLst/>
          </a:prstGeom>
        </p:spPr>
      </p:pic>
      <p:sp>
        <p:nvSpPr>
          <p:cNvPr id="238" name="TextBox 237">
            <a:extLst>
              <a:ext uri="{FF2B5EF4-FFF2-40B4-BE49-F238E27FC236}">
                <a16:creationId xmlns:a16="http://schemas.microsoft.com/office/drawing/2014/main" id="{1A3AFD46-754E-D2D4-1225-2CFE85FAFE0C}"/>
              </a:ext>
            </a:extLst>
          </p:cNvPr>
          <p:cNvSpPr txBox="1"/>
          <p:nvPr/>
        </p:nvSpPr>
        <p:spPr>
          <a:xfrm>
            <a:off x="2430649" y="4826007"/>
            <a:ext cx="7128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bg2"/>
                </a:solidFill>
              </a:rPr>
              <a:t>Material UI</a:t>
            </a:r>
            <a:endParaRPr lang="en-IN" sz="1100" b="1" dirty="0" err="1">
              <a:solidFill>
                <a:schemeClr val="bg2"/>
              </a:solidFill>
            </a:endParaRPr>
          </a:p>
        </p:txBody>
      </p:sp>
      <p:pic>
        <p:nvPicPr>
          <p:cNvPr id="240" name="Picture 239">
            <a:extLst>
              <a:ext uri="{FF2B5EF4-FFF2-40B4-BE49-F238E27FC236}">
                <a16:creationId xmlns:a16="http://schemas.microsoft.com/office/drawing/2014/main" id="{D584BCC4-248E-2628-2E78-047BE20DFE5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4251" b="4251"/>
          <a:stretch/>
        </p:blipFill>
        <p:spPr>
          <a:xfrm>
            <a:off x="11058630" y="3699737"/>
            <a:ext cx="623640" cy="570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8393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54E257-7AB3-EC98-0DF4-74BD45EFEC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i="0" dirty="0">
                <a:effectLst/>
              </a:rPr>
              <a:t>Technology stacks</a:t>
            </a:r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3BB6B3F-3FD3-7EFF-38FF-C282D29E21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041790"/>
              </p:ext>
            </p:extLst>
          </p:nvPr>
        </p:nvGraphicFramePr>
        <p:xfrm>
          <a:off x="469014" y="1179605"/>
          <a:ext cx="11376911" cy="45938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0966">
                  <a:extLst>
                    <a:ext uri="{9D8B030D-6E8A-4147-A177-3AD203B41FA5}">
                      <a16:colId xmlns:a16="http://schemas.microsoft.com/office/drawing/2014/main" val="94719915"/>
                    </a:ext>
                  </a:extLst>
                </a:gridCol>
                <a:gridCol w="2898514">
                  <a:extLst>
                    <a:ext uri="{9D8B030D-6E8A-4147-A177-3AD203B41FA5}">
                      <a16:colId xmlns:a16="http://schemas.microsoft.com/office/drawing/2014/main" val="3744774025"/>
                    </a:ext>
                  </a:extLst>
                </a:gridCol>
                <a:gridCol w="6637431">
                  <a:extLst>
                    <a:ext uri="{9D8B030D-6E8A-4147-A177-3AD203B41FA5}">
                      <a16:colId xmlns:a16="http://schemas.microsoft.com/office/drawing/2014/main" val="582006311"/>
                    </a:ext>
                  </a:extLst>
                </a:gridCol>
              </a:tblGrid>
              <a:tr h="3931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b="1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chnology stacks</a:t>
                      </a:r>
                      <a:endParaRPr lang="en-IN" sz="1200" b="1" dirty="0"/>
                    </a:p>
                    <a:p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44000" marR="14400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echnology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44000" marR="14400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eatures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44000" marR="14400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9453482"/>
                  </a:ext>
                </a:extLst>
              </a:tr>
              <a:tr h="1012023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Frontend</a:t>
                      </a:r>
                      <a:endParaRPr lang="en-IN" sz="12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React JS, HTML, CSS, Material UI</a:t>
                      </a:r>
                      <a:endParaRPr lang="en-IN" sz="12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kern="1200" dirty="0">
                          <a:solidFill>
                            <a:schemeClr val="bg2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act.js facilitates the creation of interactive web applications through efficient, component-based UI development.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kern="1200" dirty="0">
                          <a:solidFill>
                            <a:schemeClr val="bg2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TML, CSS, and MUI serve as the groundwork for designing web interfaces that are both visually pleasing and responsive, adhering to standardized structure and styling principles.</a:t>
                      </a:r>
                      <a:endParaRPr lang="en-US" sz="1200" dirty="0">
                        <a:solidFill>
                          <a:schemeClr val="bg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44000" marR="14400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4222305"/>
                  </a:ext>
                </a:extLst>
              </a:tr>
              <a:tr h="1012023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Backend</a:t>
                      </a:r>
                      <a:endParaRPr lang="en-IN" sz="12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Node JS</a:t>
                      </a:r>
                      <a:endParaRPr lang="en-IN" sz="12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de.js provides the capability to develop rapid server-side JavaScript applications and benefits from an extensive collection of modules and packages accessible via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m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streamlining the development process.</a:t>
                      </a:r>
                    </a:p>
                  </a:txBody>
                  <a:tcPr marL="144000" marR="14400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759368"/>
                  </a:ext>
                </a:extLst>
              </a:tr>
              <a:tr h="1012023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Database</a:t>
                      </a:r>
                      <a:endParaRPr lang="en-IN" sz="12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MySQL</a:t>
                      </a:r>
                      <a:endParaRPr lang="en-IN" sz="12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 offers a visual design interface for the creation and maintenance of database schemas, simplifying the process of designing and managing databases.</a:t>
                      </a:r>
                    </a:p>
                  </a:txBody>
                  <a:tcPr marL="144000" marR="14400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8636331"/>
                  </a:ext>
                </a:extLst>
              </a:tr>
              <a:tr h="1012023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Version Control</a:t>
                      </a:r>
                      <a:endParaRPr lang="en-IN" sz="12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GitHub</a:t>
                      </a:r>
                      <a:endParaRPr lang="en-IN" sz="12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purpose of GitHub, a version control platform, is to enable collaborative software development by tracking and managing changes to code repositories. 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 allows developers to work together on projects, track revisions, resolve conflicts, and maintain a history of changes, ensuring code integrity and facilitating efficient collaboration.</a:t>
                      </a:r>
                    </a:p>
                  </a:txBody>
                  <a:tcPr marL="144000" marR="14400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1364380"/>
                  </a:ext>
                </a:extLst>
              </a:tr>
            </a:tbl>
          </a:graphicData>
        </a:graphic>
      </p:graphicFrame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A0BFD9CA-6F5A-0CA1-F584-45962741E91C}"/>
              </a:ext>
            </a:extLst>
          </p:cNvPr>
          <p:cNvSpPr txBox="1">
            <a:spLocks/>
          </p:cNvSpPr>
          <p:nvPr/>
        </p:nvSpPr>
        <p:spPr>
          <a:xfrm>
            <a:off x="10358262" y="318353"/>
            <a:ext cx="1317076" cy="682598"/>
          </a:xfrm>
          <a:prstGeom prst="rect">
            <a:avLst/>
          </a:prstGeom>
          <a:noFill/>
          <a:ln>
            <a:noFill/>
          </a:ln>
        </p:spPr>
        <p:txBody>
          <a:bodyPr lIns="36000" tIns="36000" rIns="36000" bIns="36000" anchor="ctr"/>
          <a:lstStyle>
            <a:lvl1pPr marL="349250" indent="-3492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7550" indent="-3619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3619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5100" indent="-3619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Wingdings 3" panose="05040102010807070707" pitchFamily="18" charset="2"/>
              <a:buChar char="}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7050" indent="-3619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 3" panose="05040102010807070707" pitchFamily="18" charset="2"/>
              <a:buChar char="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b="1" dirty="0">
                <a:solidFill>
                  <a:schemeClr val="bg2"/>
                </a:solidFill>
                <a:cs typeface="Arial" panose="020B0604020202020204" pitchFamily="34" charset="0"/>
              </a:rPr>
              <a:t>Competency Skill Matrix</a:t>
            </a:r>
            <a:endParaRPr lang="en-US" b="1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54724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F007CC-C94C-4123-9BB9-D9E13CAA29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6204" y="1019175"/>
            <a:ext cx="4508125" cy="504000"/>
          </a:xfrm>
        </p:spPr>
        <p:txBody>
          <a:bodyPr>
            <a:noAutofit/>
          </a:bodyPr>
          <a:lstStyle/>
          <a:p>
            <a:r>
              <a:rPr lang="en-GB" dirty="0">
                <a:cs typeface="Arial"/>
              </a:rPr>
              <a:t>Client Requirements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C818E7-5B40-4B12-B5CE-0A4C7B66B6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88882" y="1019175"/>
            <a:ext cx="4508125" cy="504000"/>
          </a:xfrm>
        </p:spPr>
        <p:txBody>
          <a:bodyPr>
            <a:noAutofit/>
          </a:bodyPr>
          <a:lstStyle/>
          <a:p>
            <a:r>
              <a:rPr lang="en-GB" dirty="0">
                <a:cs typeface="Arial"/>
              </a:rPr>
              <a:t>Approach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F95E750-FF2B-47E8-B0E1-7536573BBB0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26460" y="1761811"/>
            <a:ext cx="4477869" cy="4397689"/>
          </a:xfrm>
        </p:spPr>
        <p:txBody>
          <a:bodyPr vert="horz" lIns="0" tIns="0" rIns="0" bIns="0" rtlCol="0" anchor="t">
            <a:noAutofit/>
          </a:bodyPr>
          <a:lstStyle/>
          <a:p>
            <a:pPr algn="just">
              <a:lnSpc>
                <a:spcPct val="125000"/>
              </a:lnSpc>
              <a:spcAft>
                <a:spcPts val="600"/>
              </a:spcAft>
            </a:pPr>
            <a:r>
              <a:rPr lang="en-US" sz="1200" b="0" i="0" dirty="0">
                <a:solidFill>
                  <a:srgbClr val="19105B"/>
                </a:solidFill>
                <a:effectLst/>
                <a:latin typeface="Arial" panose="020B0604020202020204" pitchFamily="34" charset="0"/>
              </a:rPr>
              <a:t>Create a Tracker to store the Employee details with their Skills. Allow users to add their skills</a:t>
            </a:r>
            <a:endParaRPr lang="en-US" sz="1200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3FE6777-283F-4B79-95B0-5085A92E90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22376" y="1761811"/>
            <a:ext cx="4474631" cy="4895105"/>
          </a:xfrm>
        </p:spPr>
        <p:txBody>
          <a:bodyPr vert="horz" lIns="0" tIns="0" rIns="0" bIns="0" rtlCol="0" anchor="t">
            <a:noAutofit/>
          </a:bodyPr>
          <a:lstStyle/>
          <a:p>
            <a:pPr algn="just">
              <a:lnSpc>
                <a:spcPct val="125000"/>
              </a:lnSpc>
              <a:spcAft>
                <a:spcPts val="600"/>
              </a:spcAft>
              <a:buClr>
                <a:schemeClr val="tx2"/>
              </a:buClr>
              <a:buSzPct val="100000"/>
            </a:pPr>
            <a:r>
              <a:rPr lang="en-US" sz="1200" dirty="0">
                <a:solidFill>
                  <a:schemeClr val="bg2"/>
                </a:solidFill>
                <a:latin typeface="+mj-lt"/>
              </a:rPr>
              <a:t>One method could invo</a:t>
            </a:r>
            <a:r>
              <a:rPr lang="en-US" dirty="0">
                <a:latin typeface="+mj-lt"/>
              </a:rPr>
              <a:t>lve</a:t>
            </a:r>
            <a:r>
              <a:rPr lang="en-US" sz="1200" dirty="0">
                <a:solidFill>
                  <a:schemeClr val="bg2"/>
                </a:solidFill>
                <a:latin typeface="+mj-lt"/>
              </a:rPr>
              <a:t> creating a user-friendly web application for entering and overseeing employee information, while also incorporating a database system to store employee profiles along with their respective skills.</a:t>
            </a:r>
          </a:p>
          <a:p>
            <a:pPr algn="just">
              <a:lnSpc>
                <a:spcPct val="125000"/>
              </a:lnSpc>
              <a:spcAft>
                <a:spcPts val="600"/>
              </a:spcAft>
              <a:buClr>
                <a:schemeClr val="tx2"/>
              </a:buClr>
              <a:buSzPct val="100000"/>
            </a:pPr>
            <a:r>
              <a:rPr lang="en-US" sz="1200" b="0" i="0" dirty="0">
                <a:solidFill>
                  <a:schemeClr val="bg2">
                    <a:lumMod val="75000"/>
                  </a:schemeClr>
                </a:solidFill>
                <a:effectLst/>
                <a:latin typeface="+mj-lt"/>
              </a:rPr>
              <a:t>Furthermore, the system should include a functionality that permits users to effortlessly append skills to an employee's record as required.</a:t>
            </a:r>
            <a:endParaRPr lang="en-GB" dirty="0">
              <a:latin typeface="+mj-lt"/>
              <a:ea typeface="+mn-lt"/>
              <a:cs typeface="+mn-lt"/>
            </a:endParaRPr>
          </a:p>
          <a:p>
            <a:pPr algn="just"/>
            <a:endParaRPr lang="en-GB" dirty="0">
              <a:ea typeface="+mn-lt"/>
              <a:cs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B523674-2186-476D-9BA2-88BFF68A5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09317"/>
            <a:ext cx="11430000" cy="626387"/>
          </a:xfrm>
        </p:spPr>
        <p:txBody>
          <a:bodyPr>
            <a:noAutofit/>
          </a:bodyPr>
          <a:lstStyle/>
          <a:p>
            <a:r>
              <a:rPr lang="en-GB" dirty="0">
                <a:cs typeface="Arial"/>
              </a:rPr>
              <a:t>Requirements &amp; Approaches</a:t>
            </a:r>
            <a:endParaRPr lang="en-GB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60873D1-6554-D8A5-FF70-FFB993B8FEB0}"/>
              </a:ext>
            </a:extLst>
          </p:cNvPr>
          <p:cNvSpPr txBox="1">
            <a:spLocks/>
          </p:cNvSpPr>
          <p:nvPr/>
        </p:nvSpPr>
        <p:spPr>
          <a:xfrm>
            <a:off x="10200111" y="221803"/>
            <a:ext cx="1317076" cy="797372"/>
          </a:xfrm>
          <a:prstGeom prst="rect">
            <a:avLst/>
          </a:prstGeom>
          <a:noFill/>
          <a:ln>
            <a:noFill/>
          </a:ln>
        </p:spPr>
        <p:txBody>
          <a:bodyPr lIns="36000" tIns="36000" rIns="36000" bIns="36000" anchor="ctr"/>
          <a:lstStyle>
            <a:lvl1pPr marL="349250" indent="-3492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7550" indent="-3619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3619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5100" indent="-3619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Wingdings 3" panose="05040102010807070707" pitchFamily="18" charset="2"/>
              <a:buChar char="}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7050" indent="-36195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 3" panose="05040102010807070707" pitchFamily="18" charset="2"/>
              <a:buChar char="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b="1" dirty="0">
                <a:solidFill>
                  <a:schemeClr val="bg2"/>
                </a:solidFill>
                <a:cs typeface="Arial" panose="020B0604020202020204" pitchFamily="34" charset="0"/>
              </a:rPr>
              <a:t>Competency Skill Matrix</a:t>
            </a:r>
            <a:endParaRPr lang="en-US" b="1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8960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itle Pages">
  <a:themeElements>
    <a:clrScheme name="JMAN_1">
      <a:dk1>
        <a:srgbClr val="1D1C1C"/>
      </a:dk1>
      <a:lt1>
        <a:srgbClr val="FFFFFF"/>
      </a:lt1>
      <a:dk2>
        <a:srgbClr val="3411A3"/>
      </a:dk2>
      <a:lt2>
        <a:srgbClr val="19105B"/>
      </a:lt2>
      <a:accent1>
        <a:srgbClr val="FF6196"/>
      </a:accent1>
      <a:accent2>
        <a:srgbClr val="71EAE1"/>
      </a:accent2>
      <a:accent3>
        <a:srgbClr val="26D4F0"/>
      </a:accent3>
      <a:accent4>
        <a:srgbClr val="A16BDB"/>
      </a:accent4>
      <a:accent5>
        <a:srgbClr val="A6265E"/>
      </a:accent5>
      <a:accent6>
        <a:srgbClr val="16978E"/>
      </a:accent6>
      <a:hlink>
        <a:srgbClr val="FFC0D5"/>
      </a:hlink>
      <a:folHlink>
        <a:srgbClr val="C6F7F3"/>
      </a:folHlink>
    </a:clrScheme>
    <a:fontScheme name="J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Dividers">
  <a:themeElements>
    <a:clrScheme name="JMAN_1">
      <a:dk1>
        <a:srgbClr val="1D1C1C"/>
      </a:dk1>
      <a:lt1>
        <a:srgbClr val="FFFFFF"/>
      </a:lt1>
      <a:dk2>
        <a:srgbClr val="3411A3"/>
      </a:dk2>
      <a:lt2>
        <a:srgbClr val="19105B"/>
      </a:lt2>
      <a:accent1>
        <a:srgbClr val="FF6196"/>
      </a:accent1>
      <a:accent2>
        <a:srgbClr val="71EAE1"/>
      </a:accent2>
      <a:accent3>
        <a:srgbClr val="26D4F0"/>
      </a:accent3>
      <a:accent4>
        <a:srgbClr val="A16BDB"/>
      </a:accent4>
      <a:accent5>
        <a:srgbClr val="A6265E"/>
      </a:accent5>
      <a:accent6>
        <a:srgbClr val="16978E"/>
      </a:accent6>
      <a:hlink>
        <a:srgbClr val="FFC0D5"/>
      </a:hlink>
      <a:folHlink>
        <a:srgbClr val="C6F7F3"/>
      </a:folHlink>
    </a:clrScheme>
    <a:fontScheme name="J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Main Content Pages">
  <a:themeElements>
    <a:clrScheme name="JMAN_1">
      <a:dk1>
        <a:srgbClr val="1D1C1C"/>
      </a:dk1>
      <a:lt1>
        <a:srgbClr val="FFFFFF"/>
      </a:lt1>
      <a:dk2>
        <a:srgbClr val="3411A3"/>
      </a:dk2>
      <a:lt2>
        <a:srgbClr val="19105B"/>
      </a:lt2>
      <a:accent1>
        <a:srgbClr val="FF6196"/>
      </a:accent1>
      <a:accent2>
        <a:srgbClr val="71EAE1"/>
      </a:accent2>
      <a:accent3>
        <a:srgbClr val="26D4F0"/>
      </a:accent3>
      <a:accent4>
        <a:srgbClr val="A16BDB"/>
      </a:accent4>
      <a:accent5>
        <a:srgbClr val="A6265E"/>
      </a:accent5>
      <a:accent6>
        <a:srgbClr val="16978E"/>
      </a:accent6>
      <a:hlink>
        <a:srgbClr val="FFC0D5"/>
      </a:hlink>
      <a:folHlink>
        <a:srgbClr val="C6F7F3"/>
      </a:folHlink>
    </a:clrScheme>
    <a:fontScheme name="J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/>
          </a:solidFill>
        </a:ln>
      </a:spPr>
      <a:bodyPr rtlCol="0" anchor="ctr"/>
      <a:lstStyle>
        <a:defPPr algn="ctr">
          <a:defRPr sz="12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2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Main Content - Dark">
  <a:themeElements>
    <a:clrScheme name="JMAN_1">
      <a:dk1>
        <a:srgbClr val="1D1C1C"/>
      </a:dk1>
      <a:lt1>
        <a:srgbClr val="FFFFFF"/>
      </a:lt1>
      <a:dk2>
        <a:srgbClr val="3411A3"/>
      </a:dk2>
      <a:lt2>
        <a:srgbClr val="19105B"/>
      </a:lt2>
      <a:accent1>
        <a:srgbClr val="FF6196"/>
      </a:accent1>
      <a:accent2>
        <a:srgbClr val="71EAE1"/>
      </a:accent2>
      <a:accent3>
        <a:srgbClr val="26D4F0"/>
      </a:accent3>
      <a:accent4>
        <a:srgbClr val="A16BDB"/>
      </a:accent4>
      <a:accent5>
        <a:srgbClr val="A6265E"/>
      </a:accent5>
      <a:accent6>
        <a:srgbClr val="16978E"/>
      </a:accent6>
      <a:hlink>
        <a:srgbClr val="FFC0D5"/>
      </a:hlink>
      <a:folHlink>
        <a:srgbClr val="C6F7F3"/>
      </a:folHlink>
    </a:clrScheme>
    <a:fontScheme name="J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Main Content Pages">
  <a:themeElements>
    <a:clrScheme name="JMAN_1">
      <a:dk1>
        <a:srgbClr val="1D1C1C"/>
      </a:dk1>
      <a:lt1>
        <a:srgbClr val="FFFFFF"/>
      </a:lt1>
      <a:dk2>
        <a:srgbClr val="3411A3"/>
      </a:dk2>
      <a:lt2>
        <a:srgbClr val="19105B"/>
      </a:lt2>
      <a:accent1>
        <a:srgbClr val="FF6196"/>
      </a:accent1>
      <a:accent2>
        <a:srgbClr val="71EAE1"/>
      </a:accent2>
      <a:accent3>
        <a:srgbClr val="26D4F0"/>
      </a:accent3>
      <a:accent4>
        <a:srgbClr val="A16BDB"/>
      </a:accent4>
      <a:accent5>
        <a:srgbClr val="A6265E"/>
      </a:accent5>
      <a:accent6>
        <a:srgbClr val="16978E"/>
      </a:accent6>
      <a:hlink>
        <a:srgbClr val="FFC0D5"/>
      </a:hlink>
      <a:folHlink>
        <a:srgbClr val="C6F7F3"/>
      </a:folHlink>
    </a:clrScheme>
    <a:fontScheme name="J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/>
          </a:solidFill>
        </a:ln>
      </a:spPr>
      <a:bodyPr rtlCol="0" anchor="ctr"/>
      <a:lstStyle>
        <a:defPPr algn="ctr">
          <a:defRPr sz="12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2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20609 JMAN PPT Master - FINAL (1)" id="{1F5C4266-499A-4C5A-9751-DC47BD63ACD9}" vid="{D246C031-08FE-436A-A1AA-266168789D6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006C5AC1457D468F4B05B6CAAEF7CB" ma:contentTypeVersion="22" ma:contentTypeDescription="Create a new document." ma:contentTypeScope="" ma:versionID="5b6a04c7bffdcaa260727b4603e0c177">
  <xsd:schema xmlns:xsd="http://www.w3.org/2001/XMLSchema" xmlns:xs="http://www.w3.org/2001/XMLSchema" xmlns:p="http://schemas.microsoft.com/office/2006/metadata/properties" xmlns:ns2="2456dc46-8947-4d6b-b004-dfd73fc159fd" xmlns:ns3="129c0084-c7fc-4643-8158-88ab432b6090" targetNamespace="http://schemas.microsoft.com/office/2006/metadata/properties" ma:root="true" ma:fieldsID="36d3d723d03b977d6b79b4b7c556b052" ns2:_="" ns3:_="">
    <xsd:import namespace="2456dc46-8947-4d6b-b004-dfd73fc159fd"/>
    <xsd:import namespace="129c0084-c7fc-4643-8158-88ab432b60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lcf76f155ced4ddcb4097134ff3c332f" minOccurs="0"/>
                <xsd:element ref="ns3:TaxCatchAll" minOccurs="0"/>
                <xsd:element ref="ns3:TaxKeywordTaxHTField" minOccurs="0"/>
                <xsd:element ref="ns2:Industry" minOccurs="0"/>
                <xsd:element ref="ns2:ProjectType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56dc46-8947-4d6b-b004-dfd73fc159f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hidden="true" ma:internalName="MediaServiceKeyPoints" ma:readOnly="true">
      <xsd:simpleType>
        <xsd:restriction base="dms:Note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6" nillable="true" ma:displayName="Tags" ma:hidden="true" ma:internalName="MediaServiceAutoTags" ma:readOnly="true">
      <xsd:simpleType>
        <xsd:restriction base="dms:Text"/>
      </xsd:simpleType>
    </xsd:element>
    <xsd:element name="MediaServiceLocation" ma:index="17" nillable="true" ma:displayName="Location" ma:hidden="true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hidden="true" ma:internalName="MediaServiceOCR" ma:readOnly="true">
      <xsd:simpleType>
        <xsd:restriction base="dms:Note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90ee516-008d-467c-846c-f354b89760b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Industry" ma:index="26" nillable="true" ma:displayName="Industry" ma:format="Dropdown" ma:internalName="Industry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harity"/>
                    <xsd:enumeration value="eCommerce"/>
                    <xsd:enumeration value="Education"/>
                    <xsd:enumeration value="Healthcare"/>
                    <xsd:enumeration value="Healthcare SaaS"/>
                    <xsd:enumeration value="Insurance"/>
                    <xsd:enumeration value="Leisure"/>
                    <xsd:enumeration value="Life Science"/>
                    <xsd:enumeration value="Manufacturing"/>
                    <xsd:enumeration value="Marketing"/>
                    <xsd:enumeration value="Medical Testing"/>
                    <xsd:enumeration value="PE"/>
                    <xsd:enumeration value="PE - Exit Support"/>
                    <xsd:enumeration value="PE/ IT Service (Portco"/>
                    <xsd:enumeration value="Pharma"/>
                    <xsd:enumeration value="PE Deal Orientation"/>
                    <xsd:enumeration value="Pharma Logistics"/>
                    <xsd:enumeration value="Retail"/>
                    <xsd:enumeration value="SaaS"/>
                    <xsd:enumeration value="Services"/>
                    <xsd:enumeration value="Telecoms"/>
                    <xsd:enumeration value="Transport"/>
                    <xsd:enumeration value="Automotive"/>
                  </xsd:restriction>
                </xsd:simpleType>
              </xsd:element>
            </xsd:sequence>
          </xsd:extension>
        </xsd:complexContent>
      </xsd:complexType>
    </xsd:element>
    <xsd:element name="ProjectType" ma:index="27" nillable="true" ma:displayName="Project Type" ma:format="Dropdown" ma:internalName="ProjectTyp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apabilities"/>
                    <xsd:enumeration value="Commercial"/>
                    <xsd:enumeration value="Commercial Insights"/>
                    <xsd:enumeration value="Data Assessment"/>
                    <xsd:enumeration value="Data Engineering"/>
                    <xsd:enumeration value="Data Governance"/>
                    <xsd:enumeration value="Data Monetization"/>
                    <xsd:enumeration value="Data Strategy"/>
                    <xsd:enumeration value="Data Warehousing"/>
                    <xsd:enumeration value="DTAAS"/>
                    <xsd:enumeration value="Financial"/>
                    <xsd:enumeration value="Financial MI"/>
                    <xsd:enumeration value="Financial Planning &amp; Analytics"/>
                    <xsd:enumeration value="Managed Services"/>
                    <xsd:enumeration value="Operational"/>
                    <xsd:enumeration value="Operational Insights"/>
                    <xsd:enumeration value="Process Automation &amp; Enhancement"/>
                    <xsd:enumeration value="QA"/>
                    <xsd:enumeration value="Sourcing"/>
                    <xsd:enumeration value="Choice 20"/>
                    <xsd:enumeration value="Transaction Services"/>
                  </xsd:restriction>
                </xsd:simpleType>
              </xsd:element>
            </xsd:sequence>
          </xsd:extension>
        </xsd:complexContent>
      </xsd:complexType>
    </xsd:element>
    <xsd:element name="MediaServiceObjectDetectorVersions" ma:index="2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9c0084-c7fc-4643-8158-88ab432b609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hidden="true" ma:internalName="SharedWithDetails" ma:readOnly="true">
      <xsd:simpleType>
        <xsd:restriction base="dms:Note"/>
      </xsd:simpleType>
    </xsd:element>
    <xsd:element name="TaxCatchAll" ma:index="23" nillable="true" ma:displayName="Taxonomy Catch All Column" ma:hidden="true" ma:list="{5c84191a-7f32-4e58-9905-28adf96d63fc}" ma:internalName="TaxCatchAll" ma:readOnly="false" ma:showField="CatchAllData" ma:web="129c0084-c7fc-4643-8158-88ab432b609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25" nillable="true" ma:taxonomy="true" ma:internalName="TaxKeywordTaxHTField" ma:taxonomyFieldName="TaxKeyword" ma:displayName="Enterprise Keywords" ma:readOnly="false" ma:fieldId="{23f27201-bee3-471e-b2e7-b64fd8b7ca38}" ma:taxonomyMulti="true" ma:sspId="190ee516-008d-467c-846c-f354b89760b8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456dc46-8947-4d6b-b004-dfd73fc159fd">
      <Terms xmlns="http://schemas.microsoft.com/office/infopath/2007/PartnerControls"/>
    </lcf76f155ced4ddcb4097134ff3c332f>
    <TaxCatchAll xmlns="129c0084-c7fc-4643-8158-88ab432b6090" xsi:nil="true"/>
    <Industry xmlns="2456dc46-8947-4d6b-b004-dfd73fc159fd" xsi:nil="true"/>
    <TaxKeywordTaxHTField xmlns="129c0084-c7fc-4643-8158-88ab432b6090">
      <Terms xmlns="http://schemas.microsoft.com/office/infopath/2007/PartnerControls"/>
    </TaxKeywordTaxHTField>
    <ProjectType xmlns="2456dc46-8947-4d6b-b004-dfd73fc159fd" xsi:nil="true"/>
    <SharedWithUsers xmlns="129c0084-c7fc-4643-8158-88ab432b6090">
      <UserInfo>
        <DisplayName>Narendra Babu Katta</DisplayName>
        <AccountId>2471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53E9555-97B9-4696-B25B-67655FD51CE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456dc46-8947-4d6b-b004-dfd73fc159fd"/>
    <ds:schemaRef ds:uri="129c0084-c7fc-4643-8158-88ab432b609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F1708D-1B6D-402B-918F-3F625FD07B5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7F3EB76-8CD1-42DC-A5B4-0C9E7E64B257}">
  <ds:schemaRefs>
    <ds:schemaRef ds:uri="http://purl.org/dc/elements/1.1/"/>
    <ds:schemaRef ds:uri="http://schemas.microsoft.com/office/2006/documentManagement/types"/>
    <ds:schemaRef ds:uri="129c0084-c7fc-4643-8158-88ab432b6090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2456dc46-8947-4d6b-b004-dfd73fc159fd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57</TotalTime>
  <Words>442</Words>
  <Application>Microsoft Office PowerPoint</Application>
  <PresentationFormat>Widescreen</PresentationFormat>
  <Paragraphs>67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Calibri</vt:lpstr>
      <vt:lpstr>Söhne</vt:lpstr>
      <vt:lpstr>Times New Roman</vt:lpstr>
      <vt:lpstr>1_Title Pages</vt:lpstr>
      <vt:lpstr>2_Dividers</vt:lpstr>
      <vt:lpstr>3_Main Content Pages</vt:lpstr>
      <vt:lpstr>4_Main Content - Dark</vt:lpstr>
      <vt:lpstr>3_Main Content Pages</vt:lpstr>
      <vt:lpstr>think-cell Slide</vt:lpstr>
      <vt:lpstr>Competency Skill Matrix</vt:lpstr>
      <vt:lpstr>Agenda</vt:lpstr>
      <vt:lpstr>Develop a Tracker for Competency Skill Matrix for the organization.</vt:lpstr>
      <vt:lpstr>Architecture diagram of the application</vt:lpstr>
      <vt:lpstr>Technology stacks</vt:lpstr>
      <vt:lpstr>Requirements &amp; Approach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ad Grew</dc:creator>
  <cp:lastModifiedBy>Ashika Murugesan</cp:lastModifiedBy>
  <cp:revision>1123</cp:revision>
  <dcterms:created xsi:type="dcterms:W3CDTF">2022-05-23T09:35:25Z</dcterms:created>
  <dcterms:modified xsi:type="dcterms:W3CDTF">2023-09-23T17:51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006C5AC1457D468F4B05B6CAAEF7CB</vt:lpwstr>
  </property>
  <property fmtid="{D5CDD505-2E9C-101B-9397-08002B2CF9AE}" pid="3" name="MediaServiceImageTags">
    <vt:lpwstr/>
  </property>
  <property fmtid="{D5CDD505-2E9C-101B-9397-08002B2CF9AE}" pid="4" name="TaxKeyword">
    <vt:lpwstr/>
  </property>
</Properties>
</file>